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4881" r:id="rId2"/>
    <p:sldMasterId id="2147484936" r:id="rId3"/>
    <p:sldMasterId id="2147484981" r:id="rId4"/>
  </p:sldMasterIdLst>
  <p:notesMasterIdLst>
    <p:notesMasterId r:id="rId20"/>
  </p:notesMasterIdLst>
  <p:sldIdLst>
    <p:sldId id="2103813174" r:id="rId5"/>
    <p:sldId id="11112" r:id="rId6"/>
    <p:sldId id="509" r:id="rId7"/>
    <p:sldId id="2134805253" r:id="rId8"/>
    <p:sldId id="2134805247" r:id="rId9"/>
    <p:sldId id="2134805251" r:id="rId10"/>
    <p:sldId id="2134805255" r:id="rId11"/>
    <p:sldId id="2134805254" r:id="rId12"/>
    <p:sldId id="2134805256" r:id="rId13"/>
    <p:sldId id="2134805257" r:id="rId14"/>
    <p:sldId id="2134805258" r:id="rId15"/>
    <p:sldId id="2134805260" r:id="rId16"/>
    <p:sldId id="513" r:id="rId17"/>
    <p:sldId id="530" r:id="rId18"/>
    <p:sldId id="2134805252" r:id="rId19"/>
  </p:sldIdLst>
  <p:sldSz cx="12192000" cy="6858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5BA76B-26D7-49BC-9982-98E544B806D5}" v="273" dt="2022-01-29T15:08:02.645"/>
  </p1510:revLst>
</p1510:revInfo>
</file>

<file path=ppt/tableStyles.xml><?xml version="1.0" encoding="utf-8"?>
<a:tblStyleLst xmlns:a="http://schemas.openxmlformats.org/drawingml/2006/main" def="{5C22544A-7EE6-4342-B048-85BDC9FD1C3A}">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5" autoAdjust="0"/>
    <p:restoredTop sz="39843" autoAdjust="0"/>
  </p:normalViewPr>
  <p:slideViewPr>
    <p:cSldViewPr snapToGrid="0">
      <p:cViewPr varScale="1">
        <p:scale>
          <a:sx n="29" d="100"/>
          <a:sy n="29" d="100"/>
        </p:scale>
        <p:origin x="2664" y="43"/>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79" d="100"/>
          <a:sy n="79" d="100"/>
        </p:scale>
        <p:origin x="2227" y="8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Deardurff" userId="a22eae058e899168" providerId="LiveId" clId="{725BA76B-26D7-49BC-9982-98E544B806D5}"/>
    <pc:docChg chg="undo custSel addSld delSld modSld sldOrd modMainMaster modNotesMaster">
      <pc:chgData name="John Deardurff" userId="a22eae058e899168" providerId="LiveId" clId="{725BA76B-26D7-49BC-9982-98E544B806D5}" dt="2022-01-29T15:08:02.645" v="947"/>
      <pc:docMkLst>
        <pc:docMk/>
      </pc:docMkLst>
      <pc:sldChg chg="modSp">
        <pc:chgData name="John Deardurff" userId="a22eae058e899168" providerId="LiveId" clId="{725BA76B-26D7-49BC-9982-98E544B806D5}" dt="2022-01-29T14:14:32.683" v="109" actId="20577"/>
        <pc:sldMkLst>
          <pc:docMk/>
          <pc:sldMk cId="2867766257" sldId="509"/>
        </pc:sldMkLst>
        <pc:graphicFrameChg chg="mod">
          <ac:chgData name="John Deardurff" userId="a22eae058e899168" providerId="LiveId" clId="{725BA76B-26D7-49BC-9982-98E544B806D5}" dt="2022-01-29T14:14:32.683" v="109" actId="20577"/>
          <ac:graphicFrameMkLst>
            <pc:docMk/>
            <pc:sldMk cId="2867766257" sldId="509"/>
            <ac:graphicFrameMk id="2" creationId="{15845F8F-E666-4C81-8545-9803D889234C}"/>
          </ac:graphicFrameMkLst>
        </pc:graphicFrameChg>
      </pc:sldChg>
      <pc:sldChg chg="del">
        <pc:chgData name="John Deardurff" userId="a22eae058e899168" providerId="LiveId" clId="{725BA76B-26D7-49BC-9982-98E544B806D5}" dt="2022-01-29T14:12:11.622" v="0" actId="47"/>
        <pc:sldMkLst>
          <pc:docMk/>
          <pc:sldMk cId="3672006807" sldId="514"/>
        </pc:sldMkLst>
      </pc:sldChg>
      <pc:sldChg chg="del">
        <pc:chgData name="John Deardurff" userId="a22eae058e899168" providerId="LiveId" clId="{725BA76B-26D7-49BC-9982-98E544B806D5}" dt="2022-01-29T14:12:28.919" v="2" actId="47"/>
        <pc:sldMkLst>
          <pc:docMk/>
          <pc:sldMk cId="3563042755" sldId="531"/>
        </pc:sldMkLst>
      </pc:sldChg>
      <pc:sldChg chg="add setBg">
        <pc:chgData name="John Deardurff" userId="a22eae058e899168" providerId="LiveId" clId="{725BA76B-26D7-49BC-9982-98E544B806D5}" dt="2022-01-29T14:12:52.827" v="3"/>
        <pc:sldMkLst>
          <pc:docMk/>
          <pc:sldMk cId="3646268716" sldId="10541"/>
        </pc:sldMkLst>
      </pc:sldChg>
      <pc:sldChg chg="add setBg">
        <pc:chgData name="John Deardurff" userId="a22eae058e899168" providerId="LiveId" clId="{725BA76B-26D7-49BC-9982-98E544B806D5}" dt="2022-01-29T14:12:52.827" v="3"/>
        <pc:sldMkLst>
          <pc:docMk/>
          <pc:sldMk cId="2321150152" sldId="2076136713"/>
        </pc:sldMkLst>
      </pc:sldChg>
      <pc:sldChg chg="delSp modSp add mod ord setBg">
        <pc:chgData name="John Deardurff" userId="a22eae058e899168" providerId="LiveId" clId="{725BA76B-26D7-49BC-9982-98E544B806D5}" dt="2022-01-29T14:57:18.372" v="720" actId="478"/>
        <pc:sldMkLst>
          <pc:docMk/>
          <pc:sldMk cId="3173895644" sldId="2103813173"/>
        </pc:sldMkLst>
        <pc:spChg chg="mod">
          <ac:chgData name="John Deardurff" userId="a22eae058e899168" providerId="LiveId" clId="{725BA76B-26D7-49BC-9982-98E544B806D5}" dt="2022-01-29T14:57:03.233" v="718" actId="20577"/>
          <ac:spMkLst>
            <pc:docMk/>
            <pc:sldMk cId="3173895644" sldId="2103813173"/>
            <ac:spMk id="3" creationId="{E020A647-56F4-BD47-9924-3669AC42A150}"/>
          </ac:spMkLst>
        </pc:spChg>
        <pc:spChg chg="mod">
          <ac:chgData name="John Deardurff" userId="a22eae058e899168" providerId="LiveId" clId="{725BA76B-26D7-49BC-9982-98E544B806D5}" dt="2022-01-29T14:56:15.111" v="712" actId="207"/>
          <ac:spMkLst>
            <pc:docMk/>
            <pc:sldMk cId="3173895644" sldId="2103813173"/>
            <ac:spMk id="6" creationId="{49AF826C-9C79-4890-AD4F-DC190B79F862}"/>
          </ac:spMkLst>
        </pc:spChg>
        <pc:graphicFrameChg chg="mod">
          <ac:chgData name="John Deardurff" userId="a22eae058e899168" providerId="LiveId" clId="{725BA76B-26D7-49BC-9982-98E544B806D5}" dt="2022-01-29T14:56:51.223" v="714" actId="12100"/>
          <ac:graphicFrameMkLst>
            <pc:docMk/>
            <pc:sldMk cId="3173895644" sldId="2103813173"/>
            <ac:graphicFrameMk id="7" creationId="{C6E62F67-2A57-4F1A-8A66-8B7A29CD6204}"/>
          </ac:graphicFrameMkLst>
        </pc:graphicFrameChg>
        <pc:picChg chg="del">
          <ac:chgData name="John Deardurff" userId="a22eae058e899168" providerId="LiveId" clId="{725BA76B-26D7-49BC-9982-98E544B806D5}" dt="2022-01-29T14:57:18.372" v="720" actId="478"/>
          <ac:picMkLst>
            <pc:docMk/>
            <pc:sldMk cId="3173895644" sldId="2103813173"/>
            <ac:picMk id="16" creationId="{9848CE19-E7CA-EA44-97FE-E5C67357D0FA}"/>
          </ac:picMkLst>
        </pc:picChg>
      </pc:sldChg>
      <pc:sldChg chg="del">
        <pc:chgData name="John Deardurff" userId="a22eae058e899168" providerId="LiveId" clId="{725BA76B-26D7-49BC-9982-98E544B806D5}" dt="2022-01-29T14:12:24.126" v="1"/>
        <pc:sldMkLst>
          <pc:docMk/>
          <pc:sldMk cId="4125709986" sldId="2103813174"/>
        </pc:sldMkLst>
      </pc:sldChg>
      <pc:sldChg chg="add del">
        <pc:chgData name="John Deardurff" userId="a22eae058e899168" providerId="LiveId" clId="{725BA76B-26D7-49BC-9982-98E544B806D5}" dt="2022-01-29T14:12:59.212" v="4" actId="2696"/>
        <pc:sldMkLst>
          <pc:docMk/>
          <pc:sldMk cId="420274501" sldId="2103813175"/>
        </pc:sldMkLst>
      </pc:sldChg>
      <pc:sldChg chg="add setBg">
        <pc:chgData name="John Deardurff" userId="a22eae058e899168" providerId="LiveId" clId="{725BA76B-26D7-49BC-9982-98E544B806D5}" dt="2022-01-29T14:12:52.827" v="3"/>
        <pc:sldMkLst>
          <pc:docMk/>
          <pc:sldMk cId="3197059075" sldId="2103813176"/>
        </pc:sldMkLst>
      </pc:sldChg>
      <pc:sldChg chg="add setBg">
        <pc:chgData name="John Deardurff" userId="a22eae058e899168" providerId="LiveId" clId="{725BA76B-26D7-49BC-9982-98E544B806D5}" dt="2022-01-29T14:12:52.827" v="3"/>
        <pc:sldMkLst>
          <pc:docMk/>
          <pc:sldMk cId="125753188" sldId="2134805229"/>
        </pc:sldMkLst>
      </pc:sldChg>
      <pc:sldChg chg="modSp add del mod setBg">
        <pc:chgData name="John Deardurff" userId="a22eae058e899168" providerId="LiveId" clId="{725BA76B-26D7-49BC-9982-98E544B806D5}" dt="2022-01-29T15:04:35.747" v="813" actId="2696"/>
        <pc:sldMkLst>
          <pc:docMk/>
          <pc:sldMk cId="2493164466" sldId="2134805230"/>
        </pc:sldMkLst>
        <pc:spChg chg="mod">
          <ac:chgData name="John Deardurff" userId="a22eae058e899168" providerId="LiveId" clId="{725BA76B-26D7-49BC-9982-98E544B806D5}" dt="2022-01-29T14:16:51.549" v="172" actId="207"/>
          <ac:spMkLst>
            <pc:docMk/>
            <pc:sldMk cId="2493164466" sldId="2134805230"/>
            <ac:spMk id="2" creationId="{297573A6-5E94-4771-A4AE-0FD498195780}"/>
          </ac:spMkLst>
        </pc:spChg>
        <pc:spChg chg="mod">
          <ac:chgData name="John Deardurff" userId="a22eae058e899168" providerId="LiveId" clId="{725BA76B-26D7-49BC-9982-98E544B806D5}" dt="2022-01-29T14:13:11.854" v="6" actId="207"/>
          <ac:spMkLst>
            <pc:docMk/>
            <pc:sldMk cId="2493164466" sldId="2134805230"/>
            <ac:spMk id="3" creationId="{9BF6D2B5-24E6-4CA1-8FE5-BF70B9F27CFC}"/>
          </ac:spMkLst>
        </pc:spChg>
        <pc:spChg chg="mod">
          <ac:chgData name="John Deardurff" userId="a22eae058e899168" providerId="LiveId" clId="{725BA76B-26D7-49BC-9982-98E544B806D5}" dt="2022-01-29T14:13:11.854" v="6" actId="207"/>
          <ac:spMkLst>
            <pc:docMk/>
            <pc:sldMk cId="2493164466" sldId="2134805230"/>
            <ac:spMk id="28" creationId="{E3E234EF-54F8-4CEF-805C-EEACCC7361D6}"/>
          </ac:spMkLst>
        </pc:spChg>
        <pc:spChg chg="mod">
          <ac:chgData name="John Deardurff" userId="a22eae058e899168" providerId="LiveId" clId="{725BA76B-26D7-49BC-9982-98E544B806D5}" dt="2022-01-29T14:13:11.854" v="6" actId="207"/>
          <ac:spMkLst>
            <pc:docMk/>
            <pc:sldMk cId="2493164466" sldId="2134805230"/>
            <ac:spMk id="34" creationId="{DD4651D6-3A83-41A3-93AE-4EE149B314D4}"/>
          </ac:spMkLst>
        </pc:spChg>
        <pc:spChg chg="mod">
          <ac:chgData name="John Deardurff" userId="a22eae058e899168" providerId="LiveId" clId="{725BA76B-26D7-49BC-9982-98E544B806D5}" dt="2022-01-29T14:13:11.854" v="6" actId="207"/>
          <ac:spMkLst>
            <pc:docMk/>
            <pc:sldMk cId="2493164466" sldId="2134805230"/>
            <ac:spMk id="36" creationId="{F4C3289A-36AC-4FA3-A436-746BF7C691FD}"/>
          </ac:spMkLst>
        </pc:spChg>
        <pc:graphicFrameChg chg="mod modGraphic">
          <ac:chgData name="John Deardurff" userId="a22eae058e899168" providerId="LiveId" clId="{725BA76B-26D7-49BC-9982-98E544B806D5}" dt="2022-01-29T14:16:09.591" v="170" actId="1076"/>
          <ac:graphicFrameMkLst>
            <pc:docMk/>
            <pc:sldMk cId="2493164466" sldId="2134805230"/>
            <ac:graphicFrameMk id="9" creationId="{24AC42F7-5534-4C51-ADEB-B251E127FB03}"/>
          </ac:graphicFrameMkLst>
        </pc:graphicFrameChg>
      </pc:sldChg>
      <pc:sldChg chg="add setBg">
        <pc:chgData name="John Deardurff" userId="a22eae058e899168" providerId="LiveId" clId="{725BA76B-26D7-49BC-9982-98E544B806D5}" dt="2022-01-29T14:12:52.827" v="3"/>
        <pc:sldMkLst>
          <pc:docMk/>
          <pc:sldMk cId="3242316680" sldId="2134805231"/>
        </pc:sldMkLst>
      </pc:sldChg>
      <pc:sldChg chg="add setBg">
        <pc:chgData name="John Deardurff" userId="a22eae058e899168" providerId="LiveId" clId="{725BA76B-26D7-49BC-9982-98E544B806D5}" dt="2022-01-29T14:12:52.827" v="3"/>
        <pc:sldMkLst>
          <pc:docMk/>
          <pc:sldMk cId="631717543" sldId="2134805232"/>
        </pc:sldMkLst>
      </pc:sldChg>
      <pc:sldChg chg="add setBg">
        <pc:chgData name="John Deardurff" userId="a22eae058e899168" providerId="LiveId" clId="{725BA76B-26D7-49BC-9982-98E544B806D5}" dt="2022-01-29T14:12:52.827" v="3"/>
        <pc:sldMkLst>
          <pc:docMk/>
          <pc:sldMk cId="9547796" sldId="2134805233"/>
        </pc:sldMkLst>
      </pc:sldChg>
      <pc:sldChg chg="add setBg">
        <pc:chgData name="John Deardurff" userId="a22eae058e899168" providerId="LiveId" clId="{725BA76B-26D7-49BC-9982-98E544B806D5}" dt="2022-01-29T14:12:52.827" v="3"/>
        <pc:sldMkLst>
          <pc:docMk/>
          <pc:sldMk cId="3142230834" sldId="2134805234"/>
        </pc:sldMkLst>
      </pc:sldChg>
      <pc:sldChg chg="add setBg">
        <pc:chgData name="John Deardurff" userId="a22eae058e899168" providerId="LiveId" clId="{725BA76B-26D7-49BC-9982-98E544B806D5}" dt="2022-01-29T14:12:52.827" v="3"/>
        <pc:sldMkLst>
          <pc:docMk/>
          <pc:sldMk cId="2507321326" sldId="2134805235"/>
        </pc:sldMkLst>
      </pc:sldChg>
      <pc:sldChg chg="add setBg">
        <pc:chgData name="John Deardurff" userId="a22eae058e899168" providerId="LiveId" clId="{725BA76B-26D7-49BC-9982-98E544B806D5}" dt="2022-01-29T14:12:52.827" v="3"/>
        <pc:sldMkLst>
          <pc:docMk/>
          <pc:sldMk cId="4133140798" sldId="2134805236"/>
        </pc:sldMkLst>
      </pc:sldChg>
      <pc:sldChg chg="add">
        <pc:chgData name="John Deardurff" userId="a22eae058e899168" providerId="LiveId" clId="{725BA76B-26D7-49BC-9982-98E544B806D5}" dt="2022-01-29T14:12:52.827" v="3"/>
        <pc:sldMkLst>
          <pc:docMk/>
          <pc:sldMk cId="60582485" sldId="2134805237"/>
        </pc:sldMkLst>
      </pc:sldChg>
      <pc:sldChg chg="add setBg">
        <pc:chgData name="John Deardurff" userId="a22eae058e899168" providerId="LiveId" clId="{725BA76B-26D7-49BC-9982-98E544B806D5}" dt="2022-01-29T14:12:52.827" v="3"/>
        <pc:sldMkLst>
          <pc:docMk/>
          <pc:sldMk cId="3921759994" sldId="2134805238"/>
        </pc:sldMkLst>
      </pc:sldChg>
      <pc:sldChg chg="add setBg">
        <pc:chgData name="John Deardurff" userId="a22eae058e899168" providerId="LiveId" clId="{725BA76B-26D7-49BC-9982-98E544B806D5}" dt="2022-01-29T14:12:52.827" v="3"/>
        <pc:sldMkLst>
          <pc:docMk/>
          <pc:sldMk cId="1749216173" sldId="2134805239"/>
        </pc:sldMkLst>
      </pc:sldChg>
      <pc:sldChg chg="add">
        <pc:chgData name="John Deardurff" userId="a22eae058e899168" providerId="LiveId" clId="{725BA76B-26D7-49BC-9982-98E544B806D5}" dt="2022-01-29T14:12:52.827" v="3"/>
        <pc:sldMkLst>
          <pc:docMk/>
          <pc:sldMk cId="554547065" sldId="2134805240"/>
        </pc:sldMkLst>
      </pc:sldChg>
      <pc:sldChg chg="add setBg">
        <pc:chgData name="John Deardurff" userId="a22eae058e899168" providerId="LiveId" clId="{725BA76B-26D7-49BC-9982-98E544B806D5}" dt="2022-01-29T14:12:52.827" v="3"/>
        <pc:sldMkLst>
          <pc:docMk/>
          <pc:sldMk cId="135226478" sldId="2134805241"/>
        </pc:sldMkLst>
      </pc:sldChg>
      <pc:sldChg chg="add setBg">
        <pc:chgData name="John Deardurff" userId="a22eae058e899168" providerId="LiveId" clId="{725BA76B-26D7-49BC-9982-98E544B806D5}" dt="2022-01-29T14:12:52.827" v="3"/>
        <pc:sldMkLst>
          <pc:docMk/>
          <pc:sldMk cId="907530459" sldId="2134805242"/>
        </pc:sldMkLst>
      </pc:sldChg>
      <pc:sldChg chg="addSp delSp modSp add mod setBg">
        <pc:chgData name="John Deardurff" userId="a22eae058e899168" providerId="LiveId" clId="{725BA76B-26D7-49BC-9982-98E544B806D5}" dt="2022-01-29T14:57:14.511" v="719" actId="478"/>
        <pc:sldMkLst>
          <pc:docMk/>
          <pc:sldMk cId="602236569" sldId="2134805247"/>
        </pc:sldMkLst>
        <pc:spChg chg="mod">
          <ac:chgData name="John Deardurff" userId="a22eae058e899168" providerId="LiveId" clId="{725BA76B-26D7-49BC-9982-98E544B806D5}" dt="2022-01-29T14:25:46.483" v="272" actId="1076"/>
          <ac:spMkLst>
            <pc:docMk/>
            <pc:sldMk cId="602236569" sldId="2134805247"/>
            <ac:spMk id="3" creationId="{E020A647-56F4-BD47-9924-3669AC42A150}"/>
          </ac:spMkLst>
        </pc:spChg>
        <pc:spChg chg="del mod">
          <ac:chgData name="John Deardurff" userId="a22eae058e899168" providerId="LiveId" clId="{725BA76B-26D7-49BC-9982-98E544B806D5}" dt="2022-01-29T14:24:57.477" v="256" actId="478"/>
          <ac:spMkLst>
            <pc:docMk/>
            <pc:sldMk cId="602236569" sldId="2134805247"/>
            <ac:spMk id="5" creationId="{7DE98354-88E8-4DAF-8EEB-EC96CA1D80F6}"/>
          </ac:spMkLst>
        </pc:spChg>
        <pc:spChg chg="del mod">
          <ac:chgData name="John Deardurff" userId="a22eae058e899168" providerId="LiveId" clId="{725BA76B-26D7-49BC-9982-98E544B806D5}" dt="2022-01-29T14:28:34.392" v="301" actId="478"/>
          <ac:spMkLst>
            <pc:docMk/>
            <pc:sldMk cId="602236569" sldId="2134805247"/>
            <ac:spMk id="6" creationId="{77A6BA3B-F5B4-4285-B8DE-9065B6818CDB}"/>
          </ac:spMkLst>
        </pc:spChg>
        <pc:spChg chg="del mod">
          <ac:chgData name="John Deardurff" userId="a22eae058e899168" providerId="LiveId" clId="{725BA76B-26D7-49BC-9982-98E544B806D5}" dt="2022-01-29T14:28:30.197" v="300" actId="478"/>
          <ac:spMkLst>
            <pc:docMk/>
            <pc:sldMk cId="602236569" sldId="2134805247"/>
            <ac:spMk id="7" creationId="{8712BD6F-1212-4463-B323-C157D552F57B}"/>
          </ac:spMkLst>
        </pc:spChg>
        <pc:spChg chg="del mod">
          <ac:chgData name="John Deardurff" userId="a22eae058e899168" providerId="LiveId" clId="{725BA76B-26D7-49BC-9982-98E544B806D5}" dt="2022-01-29T14:28:30.197" v="300" actId="478"/>
          <ac:spMkLst>
            <pc:docMk/>
            <pc:sldMk cId="602236569" sldId="2134805247"/>
            <ac:spMk id="8" creationId="{693B2874-4C74-4C87-AFFD-106A163BFEB9}"/>
          </ac:spMkLst>
        </pc:spChg>
        <pc:spChg chg="del mod">
          <ac:chgData name="John Deardurff" userId="a22eae058e899168" providerId="LiveId" clId="{725BA76B-26D7-49BC-9982-98E544B806D5}" dt="2022-01-29T14:28:30.197" v="300" actId="478"/>
          <ac:spMkLst>
            <pc:docMk/>
            <pc:sldMk cId="602236569" sldId="2134805247"/>
            <ac:spMk id="9" creationId="{FD60501A-4EAF-4913-A03C-6B71541BDA5E}"/>
          </ac:spMkLst>
        </pc:spChg>
        <pc:spChg chg="del mod">
          <ac:chgData name="John Deardurff" userId="a22eae058e899168" providerId="LiveId" clId="{725BA76B-26D7-49BC-9982-98E544B806D5}" dt="2022-01-29T14:28:30.197" v="300" actId="478"/>
          <ac:spMkLst>
            <pc:docMk/>
            <pc:sldMk cId="602236569" sldId="2134805247"/>
            <ac:spMk id="10" creationId="{23063F71-DC86-4102-980E-09F9FCEDF33F}"/>
          </ac:spMkLst>
        </pc:spChg>
        <pc:spChg chg="del mod">
          <ac:chgData name="John Deardurff" userId="a22eae058e899168" providerId="LiveId" clId="{725BA76B-26D7-49BC-9982-98E544B806D5}" dt="2022-01-29T14:28:30.197" v="300" actId="478"/>
          <ac:spMkLst>
            <pc:docMk/>
            <pc:sldMk cId="602236569" sldId="2134805247"/>
            <ac:spMk id="11" creationId="{96553E19-22B5-4EBC-9D44-EBCFA77D878E}"/>
          </ac:spMkLst>
        </pc:spChg>
        <pc:spChg chg="del mod">
          <ac:chgData name="John Deardurff" userId="a22eae058e899168" providerId="LiveId" clId="{725BA76B-26D7-49BC-9982-98E544B806D5}" dt="2022-01-29T14:28:30.197" v="300" actId="478"/>
          <ac:spMkLst>
            <pc:docMk/>
            <pc:sldMk cId="602236569" sldId="2134805247"/>
            <ac:spMk id="12" creationId="{6293D7A1-15DC-4147-AB78-86E64EE90224}"/>
          </ac:spMkLst>
        </pc:spChg>
        <pc:spChg chg="del mod">
          <ac:chgData name="John Deardurff" userId="a22eae058e899168" providerId="LiveId" clId="{725BA76B-26D7-49BC-9982-98E544B806D5}" dt="2022-01-29T14:24:57.477" v="256" actId="478"/>
          <ac:spMkLst>
            <pc:docMk/>
            <pc:sldMk cId="602236569" sldId="2134805247"/>
            <ac:spMk id="13" creationId="{651E9852-DA1E-4416-B775-7E0482324CE5}"/>
          </ac:spMkLst>
        </pc:spChg>
        <pc:spChg chg="del mod">
          <ac:chgData name="John Deardurff" userId="a22eae058e899168" providerId="LiveId" clId="{725BA76B-26D7-49BC-9982-98E544B806D5}" dt="2022-01-29T14:28:30.197" v="300" actId="478"/>
          <ac:spMkLst>
            <pc:docMk/>
            <pc:sldMk cId="602236569" sldId="2134805247"/>
            <ac:spMk id="14" creationId="{775F4660-3794-4925-A83A-99C6E495E7EF}"/>
          </ac:spMkLst>
        </pc:spChg>
        <pc:spChg chg="add del mod">
          <ac:chgData name="John Deardurff" userId="a22eae058e899168" providerId="LiveId" clId="{725BA76B-26D7-49BC-9982-98E544B806D5}" dt="2022-01-29T14:44:02.056" v="578" actId="478"/>
          <ac:spMkLst>
            <pc:docMk/>
            <pc:sldMk cId="602236569" sldId="2134805247"/>
            <ac:spMk id="15" creationId="{4EA33A96-52B8-495E-BE82-C18B5CD6F42B}"/>
          </ac:spMkLst>
        </pc:spChg>
        <pc:spChg chg="del mod">
          <ac:chgData name="John Deardurff" userId="a22eae058e899168" providerId="LiveId" clId="{725BA76B-26D7-49BC-9982-98E544B806D5}" dt="2022-01-29T14:24:57.477" v="256" actId="478"/>
          <ac:spMkLst>
            <pc:docMk/>
            <pc:sldMk cId="602236569" sldId="2134805247"/>
            <ac:spMk id="17" creationId="{9E7A44D5-8E80-4237-8AA8-38ED5D41AF14}"/>
          </ac:spMkLst>
        </pc:spChg>
        <pc:spChg chg="add del mod">
          <ac:chgData name="John Deardurff" userId="a22eae058e899168" providerId="LiveId" clId="{725BA76B-26D7-49BC-9982-98E544B806D5}" dt="2022-01-29T14:44:02.056" v="578" actId="478"/>
          <ac:spMkLst>
            <pc:docMk/>
            <pc:sldMk cId="602236569" sldId="2134805247"/>
            <ac:spMk id="18" creationId="{26D7D6D0-9098-4B30-8062-0AC225C0C2A6}"/>
          </ac:spMkLst>
        </pc:spChg>
        <pc:spChg chg="del mod">
          <ac:chgData name="John Deardurff" userId="a22eae058e899168" providerId="LiveId" clId="{725BA76B-26D7-49BC-9982-98E544B806D5}" dt="2022-01-29T14:28:30.197" v="300" actId="478"/>
          <ac:spMkLst>
            <pc:docMk/>
            <pc:sldMk cId="602236569" sldId="2134805247"/>
            <ac:spMk id="19" creationId="{9D6F0BBE-65BB-41AE-82E0-53921DD05101}"/>
          </ac:spMkLst>
        </pc:spChg>
        <pc:spChg chg="del mod">
          <ac:chgData name="John Deardurff" userId="a22eae058e899168" providerId="LiveId" clId="{725BA76B-26D7-49BC-9982-98E544B806D5}" dt="2022-01-29T14:28:36.916" v="302" actId="478"/>
          <ac:spMkLst>
            <pc:docMk/>
            <pc:sldMk cId="602236569" sldId="2134805247"/>
            <ac:spMk id="20" creationId="{1E48B69E-7071-4262-BF74-E2EF3BE32352}"/>
          </ac:spMkLst>
        </pc:spChg>
        <pc:spChg chg="del mod">
          <ac:chgData name="John Deardurff" userId="a22eae058e899168" providerId="LiveId" clId="{725BA76B-26D7-49BC-9982-98E544B806D5}" dt="2022-01-29T14:28:30.197" v="300" actId="478"/>
          <ac:spMkLst>
            <pc:docMk/>
            <pc:sldMk cId="602236569" sldId="2134805247"/>
            <ac:spMk id="21" creationId="{0576AA17-591F-4213-8B08-5B07B865D9F1}"/>
          </ac:spMkLst>
        </pc:spChg>
        <pc:spChg chg="del mod">
          <ac:chgData name="John Deardurff" userId="a22eae058e899168" providerId="LiveId" clId="{725BA76B-26D7-49BC-9982-98E544B806D5}" dt="2022-01-29T14:28:30.197" v="300" actId="478"/>
          <ac:spMkLst>
            <pc:docMk/>
            <pc:sldMk cId="602236569" sldId="2134805247"/>
            <ac:spMk id="22" creationId="{DADB9171-0D27-4574-ABF5-2378E461EC10}"/>
          </ac:spMkLst>
        </pc:spChg>
        <pc:spChg chg="del mod">
          <ac:chgData name="John Deardurff" userId="a22eae058e899168" providerId="LiveId" clId="{725BA76B-26D7-49BC-9982-98E544B806D5}" dt="2022-01-29T14:28:30.197" v="300" actId="478"/>
          <ac:spMkLst>
            <pc:docMk/>
            <pc:sldMk cId="602236569" sldId="2134805247"/>
            <ac:spMk id="23" creationId="{49860C95-C1E1-4BB5-9567-F70C48E5ADC5}"/>
          </ac:spMkLst>
        </pc:spChg>
        <pc:spChg chg="del mod">
          <ac:chgData name="John Deardurff" userId="a22eae058e899168" providerId="LiveId" clId="{725BA76B-26D7-49BC-9982-98E544B806D5}" dt="2022-01-29T14:28:30.197" v="300" actId="478"/>
          <ac:spMkLst>
            <pc:docMk/>
            <pc:sldMk cId="602236569" sldId="2134805247"/>
            <ac:spMk id="24" creationId="{62603E11-74AC-40D1-8E12-2FF5737381A5}"/>
          </ac:spMkLst>
        </pc:spChg>
        <pc:spChg chg="del mod">
          <ac:chgData name="John Deardurff" userId="a22eae058e899168" providerId="LiveId" clId="{725BA76B-26D7-49BC-9982-98E544B806D5}" dt="2022-01-29T14:28:30.197" v="300" actId="478"/>
          <ac:spMkLst>
            <pc:docMk/>
            <pc:sldMk cId="602236569" sldId="2134805247"/>
            <ac:spMk id="25" creationId="{1528C4E1-F1DE-4494-B562-C6EF7972A9A4}"/>
          </ac:spMkLst>
        </pc:spChg>
        <pc:spChg chg="del mod">
          <ac:chgData name="John Deardurff" userId="a22eae058e899168" providerId="LiveId" clId="{725BA76B-26D7-49BC-9982-98E544B806D5}" dt="2022-01-29T14:28:30.197" v="300" actId="478"/>
          <ac:spMkLst>
            <pc:docMk/>
            <pc:sldMk cId="602236569" sldId="2134805247"/>
            <ac:spMk id="26" creationId="{5C61E500-2420-4A8B-A778-3B22BB73A2D0}"/>
          </ac:spMkLst>
        </pc:spChg>
        <pc:spChg chg="del mod">
          <ac:chgData name="John Deardurff" userId="a22eae058e899168" providerId="LiveId" clId="{725BA76B-26D7-49BC-9982-98E544B806D5}" dt="2022-01-29T14:28:39.334" v="303" actId="478"/>
          <ac:spMkLst>
            <pc:docMk/>
            <pc:sldMk cId="602236569" sldId="2134805247"/>
            <ac:spMk id="27" creationId="{D916AF2F-1B46-4340-8E8B-7AEB7D5D25E0}"/>
          </ac:spMkLst>
        </pc:spChg>
        <pc:spChg chg="del mod">
          <ac:chgData name="John Deardurff" userId="a22eae058e899168" providerId="LiveId" clId="{725BA76B-26D7-49BC-9982-98E544B806D5}" dt="2022-01-29T14:28:30.197" v="300" actId="478"/>
          <ac:spMkLst>
            <pc:docMk/>
            <pc:sldMk cId="602236569" sldId="2134805247"/>
            <ac:spMk id="28" creationId="{04F824E4-3214-4008-86D7-AA40EDDA9F2C}"/>
          </ac:spMkLst>
        </pc:spChg>
        <pc:spChg chg="add del mod">
          <ac:chgData name="John Deardurff" userId="a22eae058e899168" providerId="LiveId" clId="{725BA76B-26D7-49BC-9982-98E544B806D5}" dt="2022-01-29T14:44:02.056" v="578" actId="478"/>
          <ac:spMkLst>
            <pc:docMk/>
            <pc:sldMk cId="602236569" sldId="2134805247"/>
            <ac:spMk id="29" creationId="{003D2F95-588F-4915-9742-C9F88E5EBECA}"/>
          </ac:spMkLst>
        </pc:spChg>
        <pc:spChg chg="add del mod">
          <ac:chgData name="John Deardurff" userId="a22eae058e899168" providerId="LiveId" clId="{725BA76B-26D7-49BC-9982-98E544B806D5}" dt="2022-01-29T14:44:02.056" v="578" actId="478"/>
          <ac:spMkLst>
            <pc:docMk/>
            <pc:sldMk cId="602236569" sldId="2134805247"/>
            <ac:spMk id="30" creationId="{2E509909-ECE2-42AE-8B8E-94ECA3C9012D}"/>
          </ac:spMkLst>
        </pc:spChg>
        <pc:spChg chg="add del mod">
          <ac:chgData name="John Deardurff" userId="a22eae058e899168" providerId="LiveId" clId="{725BA76B-26D7-49BC-9982-98E544B806D5}" dt="2022-01-29T14:44:02.056" v="578" actId="478"/>
          <ac:spMkLst>
            <pc:docMk/>
            <pc:sldMk cId="602236569" sldId="2134805247"/>
            <ac:spMk id="31" creationId="{FD8D31EF-10E8-4021-AEC0-3738BCE6D247}"/>
          </ac:spMkLst>
        </pc:spChg>
        <pc:spChg chg="add del mod">
          <ac:chgData name="John Deardurff" userId="a22eae058e899168" providerId="LiveId" clId="{725BA76B-26D7-49BC-9982-98E544B806D5}" dt="2022-01-29T14:44:02.056" v="578" actId="478"/>
          <ac:spMkLst>
            <pc:docMk/>
            <pc:sldMk cId="602236569" sldId="2134805247"/>
            <ac:spMk id="32" creationId="{D96E2C05-16AB-4228-AC4E-D8163FE6992D}"/>
          </ac:spMkLst>
        </pc:spChg>
        <pc:spChg chg="add del mod">
          <ac:chgData name="John Deardurff" userId="a22eae058e899168" providerId="LiveId" clId="{725BA76B-26D7-49BC-9982-98E544B806D5}" dt="2022-01-29T14:44:02.056" v="578" actId="478"/>
          <ac:spMkLst>
            <pc:docMk/>
            <pc:sldMk cId="602236569" sldId="2134805247"/>
            <ac:spMk id="33" creationId="{8DEB6FA0-29BE-4575-B325-0B0DA2BC298E}"/>
          </ac:spMkLst>
        </pc:spChg>
        <pc:spChg chg="add del mod">
          <ac:chgData name="John Deardurff" userId="a22eae058e899168" providerId="LiveId" clId="{725BA76B-26D7-49BC-9982-98E544B806D5}" dt="2022-01-29T14:44:02.056" v="578" actId="478"/>
          <ac:spMkLst>
            <pc:docMk/>
            <pc:sldMk cId="602236569" sldId="2134805247"/>
            <ac:spMk id="34" creationId="{F78198E5-3496-40C4-AA92-45C592F02F2A}"/>
          </ac:spMkLst>
        </pc:spChg>
        <pc:spChg chg="add del mod">
          <ac:chgData name="John Deardurff" userId="a22eae058e899168" providerId="LiveId" clId="{725BA76B-26D7-49BC-9982-98E544B806D5}" dt="2022-01-29T14:44:02.056" v="578" actId="478"/>
          <ac:spMkLst>
            <pc:docMk/>
            <pc:sldMk cId="602236569" sldId="2134805247"/>
            <ac:spMk id="35" creationId="{238DBAD4-65C3-40C4-86E0-3CDFC6230DC8}"/>
          </ac:spMkLst>
        </pc:spChg>
        <pc:spChg chg="add del mod">
          <ac:chgData name="John Deardurff" userId="a22eae058e899168" providerId="LiveId" clId="{725BA76B-26D7-49BC-9982-98E544B806D5}" dt="2022-01-29T14:44:02.056" v="578" actId="478"/>
          <ac:spMkLst>
            <pc:docMk/>
            <pc:sldMk cId="602236569" sldId="2134805247"/>
            <ac:spMk id="36" creationId="{77FE6A98-6D71-42FC-A933-3863E90AFF6B}"/>
          </ac:spMkLst>
        </pc:spChg>
        <pc:spChg chg="add del mod">
          <ac:chgData name="John Deardurff" userId="a22eae058e899168" providerId="LiveId" clId="{725BA76B-26D7-49BC-9982-98E544B806D5}" dt="2022-01-29T14:44:02.056" v="578" actId="478"/>
          <ac:spMkLst>
            <pc:docMk/>
            <pc:sldMk cId="602236569" sldId="2134805247"/>
            <ac:spMk id="37" creationId="{9484E264-9308-4A67-BB29-8E1F360892E6}"/>
          </ac:spMkLst>
        </pc:spChg>
        <pc:spChg chg="add del mod">
          <ac:chgData name="John Deardurff" userId="a22eae058e899168" providerId="LiveId" clId="{725BA76B-26D7-49BC-9982-98E544B806D5}" dt="2022-01-29T14:44:02.056" v="578" actId="478"/>
          <ac:spMkLst>
            <pc:docMk/>
            <pc:sldMk cId="602236569" sldId="2134805247"/>
            <ac:spMk id="39" creationId="{AFB49C55-001B-4C11-89B2-B62F686472C0}"/>
          </ac:spMkLst>
        </pc:spChg>
        <pc:spChg chg="add del mod">
          <ac:chgData name="John Deardurff" userId="a22eae058e899168" providerId="LiveId" clId="{725BA76B-26D7-49BC-9982-98E544B806D5}" dt="2022-01-29T14:44:02.056" v="578" actId="478"/>
          <ac:spMkLst>
            <pc:docMk/>
            <pc:sldMk cId="602236569" sldId="2134805247"/>
            <ac:spMk id="41" creationId="{4F15445F-BC23-415C-B9AC-E0B053CF123B}"/>
          </ac:spMkLst>
        </pc:spChg>
        <pc:spChg chg="add del mod">
          <ac:chgData name="John Deardurff" userId="a22eae058e899168" providerId="LiveId" clId="{725BA76B-26D7-49BC-9982-98E544B806D5}" dt="2022-01-29T14:44:02.056" v="578" actId="478"/>
          <ac:spMkLst>
            <pc:docMk/>
            <pc:sldMk cId="602236569" sldId="2134805247"/>
            <ac:spMk id="43" creationId="{A82D572E-AA12-40BB-828E-CF4580A8F8ED}"/>
          </ac:spMkLst>
        </pc:spChg>
        <pc:spChg chg="del mod">
          <ac:chgData name="John Deardurff" userId="a22eae058e899168" providerId="LiveId" clId="{725BA76B-26D7-49BC-9982-98E544B806D5}" dt="2022-01-29T14:28:30.197" v="300" actId="478"/>
          <ac:spMkLst>
            <pc:docMk/>
            <pc:sldMk cId="602236569" sldId="2134805247"/>
            <ac:spMk id="44" creationId="{13610BDA-78B0-4F3C-9995-AD85D68DC59A}"/>
          </ac:spMkLst>
        </pc:spChg>
        <pc:spChg chg="del mod">
          <ac:chgData name="John Deardurff" userId="a22eae058e899168" providerId="LiveId" clId="{725BA76B-26D7-49BC-9982-98E544B806D5}" dt="2022-01-29T14:28:30.197" v="300" actId="478"/>
          <ac:spMkLst>
            <pc:docMk/>
            <pc:sldMk cId="602236569" sldId="2134805247"/>
            <ac:spMk id="46" creationId="{8F0AA2C2-92BD-45FD-95C6-08C66A339101}"/>
          </ac:spMkLst>
        </pc:spChg>
        <pc:spChg chg="del mod">
          <ac:chgData name="John Deardurff" userId="a22eae058e899168" providerId="LiveId" clId="{725BA76B-26D7-49BC-9982-98E544B806D5}" dt="2022-01-29T14:28:30.197" v="300" actId="478"/>
          <ac:spMkLst>
            <pc:docMk/>
            <pc:sldMk cId="602236569" sldId="2134805247"/>
            <ac:spMk id="48" creationId="{4AB8D655-8A9C-4E80-99ED-CF51A6F7C514}"/>
          </ac:spMkLst>
        </pc:spChg>
        <pc:spChg chg="del mod">
          <ac:chgData name="John Deardurff" userId="a22eae058e899168" providerId="LiveId" clId="{725BA76B-26D7-49BC-9982-98E544B806D5}" dt="2022-01-29T14:28:30.197" v="300" actId="478"/>
          <ac:spMkLst>
            <pc:docMk/>
            <pc:sldMk cId="602236569" sldId="2134805247"/>
            <ac:spMk id="50" creationId="{C425482D-DB6F-4475-83E2-07BB9844AAE0}"/>
          </ac:spMkLst>
        </pc:spChg>
        <pc:spChg chg="del mod">
          <ac:chgData name="John Deardurff" userId="a22eae058e899168" providerId="LiveId" clId="{725BA76B-26D7-49BC-9982-98E544B806D5}" dt="2022-01-29T14:28:30.197" v="300" actId="478"/>
          <ac:spMkLst>
            <pc:docMk/>
            <pc:sldMk cId="602236569" sldId="2134805247"/>
            <ac:spMk id="52" creationId="{C24E2BB1-B179-45AB-970E-EE9A2C7744BE}"/>
          </ac:spMkLst>
        </pc:spChg>
        <pc:spChg chg="del mod">
          <ac:chgData name="John Deardurff" userId="a22eae058e899168" providerId="LiveId" clId="{725BA76B-26D7-49BC-9982-98E544B806D5}" dt="2022-01-29T14:28:30.197" v="300" actId="478"/>
          <ac:spMkLst>
            <pc:docMk/>
            <pc:sldMk cId="602236569" sldId="2134805247"/>
            <ac:spMk id="54" creationId="{7F206BB8-3F6E-4A75-BCB0-83683B9AF274}"/>
          </ac:spMkLst>
        </pc:spChg>
        <pc:spChg chg="add del mod">
          <ac:chgData name="John Deardurff" userId="a22eae058e899168" providerId="LiveId" clId="{725BA76B-26D7-49BC-9982-98E544B806D5}" dt="2022-01-29T14:44:02.056" v="578" actId="478"/>
          <ac:spMkLst>
            <pc:docMk/>
            <pc:sldMk cId="602236569" sldId="2134805247"/>
            <ac:spMk id="57" creationId="{5DE2C140-2631-4453-B49C-F1F8EB5CF879}"/>
          </ac:spMkLst>
        </pc:spChg>
        <pc:spChg chg="add del mod">
          <ac:chgData name="John Deardurff" userId="a22eae058e899168" providerId="LiveId" clId="{725BA76B-26D7-49BC-9982-98E544B806D5}" dt="2022-01-29T14:44:02.056" v="578" actId="478"/>
          <ac:spMkLst>
            <pc:docMk/>
            <pc:sldMk cId="602236569" sldId="2134805247"/>
            <ac:spMk id="59" creationId="{C00080D5-8E5C-4530-AD9C-70E0146C9280}"/>
          </ac:spMkLst>
        </pc:spChg>
        <pc:spChg chg="add mod">
          <ac:chgData name="John Deardurff" userId="a22eae058e899168" providerId="LiveId" clId="{725BA76B-26D7-49BC-9982-98E544B806D5}" dt="2022-01-29T14:52:46.819" v="701" actId="12789"/>
          <ac:spMkLst>
            <pc:docMk/>
            <pc:sldMk cId="602236569" sldId="2134805247"/>
            <ac:spMk id="61" creationId="{15DC077C-FC2F-4FD7-A97E-890A544083FC}"/>
          </ac:spMkLst>
        </pc:spChg>
        <pc:spChg chg="add mod">
          <ac:chgData name="John Deardurff" userId="a22eae058e899168" providerId="LiveId" clId="{725BA76B-26D7-49BC-9982-98E544B806D5}" dt="2022-01-29T14:52:46.819" v="701" actId="12789"/>
          <ac:spMkLst>
            <pc:docMk/>
            <pc:sldMk cId="602236569" sldId="2134805247"/>
            <ac:spMk id="63" creationId="{1D755DA9-5779-412A-B458-F4034EF71778}"/>
          </ac:spMkLst>
        </pc:spChg>
        <pc:spChg chg="add mod">
          <ac:chgData name="John Deardurff" userId="a22eae058e899168" providerId="LiveId" clId="{725BA76B-26D7-49BC-9982-98E544B806D5}" dt="2022-01-29T14:52:55.167" v="702" actId="12789"/>
          <ac:spMkLst>
            <pc:docMk/>
            <pc:sldMk cId="602236569" sldId="2134805247"/>
            <ac:spMk id="65" creationId="{413CD6D5-DBE0-4420-823A-9E4345E4C0E8}"/>
          </ac:spMkLst>
        </pc:spChg>
        <pc:spChg chg="add mod">
          <ac:chgData name="John Deardurff" userId="a22eae058e899168" providerId="LiveId" clId="{725BA76B-26D7-49BC-9982-98E544B806D5}" dt="2022-01-29T14:52:55.167" v="702" actId="12789"/>
          <ac:spMkLst>
            <pc:docMk/>
            <pc:sldMk cId="602236569" sldId="2134805247"/>
            <ac:spMk id="67" creationId="{954BE0A0-2DEB-49B5-B4B0-8DCFFA8BC9B0}"/>
          </ac:spMkLst>
        </pc:spChg>
        <pc:spChg chg="add mod">
          <ac:chgData name="John Deardurff" userId="a22eae058e899168" providerId="LiveId" clId="{725BA76B-26D7-49BC-9982-98E544B806D5}" dt="2022-01-29T14:53:01.782" v="703" actId="12789"/>
          <ac:spMkLst>
            <pc:docMk/>
            <pc:sldMk cId="602236569" sldId="2134805247"/>
            <ac:spMk id="69" creationId="{4E53B0CE-983E-4C82-BEB6-759D090671F5}"/>
          </ac:spMkLst>
        </pc:spChg>
        <pc:spChg chg="add mod">
          <ac:chgData name="John Deardurff" userId="a22eae058e899168" providerId="LiveId" clId="{725BA76B-26D7-49BC-9982-98E544B806D5}" dt="2022-01-29T14:53:01.782" v="703" actId="12789"/>
          <ac:spMkLst>
            <pc:docMk/>
            <pc:sldMk cId="602236569" sldId="2134805247"/>
            <ac:spMk id="71" creationId="{C1FD655F-1335-4E3D-AB2E-CC39E6F5A069}"/>
          </ac:spMkLst>
        </pc:spChg>
        <pc:spChg chg="add del">
          <ac:chgData name="John Deardurff" userId="a22eae058e899168" providerId="LiveId" clId="{725BA76B-26D7-49BC-9982-98E544B806D5}" dt="2022-01-29T14:47:55.174" v="632" actId="22"/>
          <ac:spMkLst>
            <pc:docMk/>
            <pc:sldMk cId="602236569" sldId="2134805247"/>
            <ac:spMk id="73" creationId="{F1424D54-BFB6-4B03-A6A9-6EEF9A3701B5}"/>
          </ac:spMkLst>
        </pc:spChg>
        <pc:spChg chg="add del">
          <ac:chgData name="John Deardurff" userId="a22eae058e899168" providerId="LiveId" clId="{725BA76B-26D7-49BC-9982-98E544B806D5}" dt="2022-01-29T14:47:55.174" v="632" actId="22"/>
          <ac:spMkLst>
            <pc:docMk/>
            <pc:sldMk cId="602236569" sldId="2134805247"/>
            <ac:spMk id="75" creationId="{A6B6886E-781E-4109-BCED-FB89CA7328B2}"/>
          </ac:spMkLst>
        </pc:spChg>
        <pc:spChg chg="add mod">
          <ac:chgData name="John Deardurff" userId="a22eae058e899168" providerId="LiveId" clId="{725BA76B-26D7-49BC-9982-98E544B806D5}" dt="2022-01-29T14:51:05.866" v="685" actId="1036"/>
          <ac:spMkLst>
            <pc:docMk/>
            <pc:sldMk cId="602236569" sldId="2134805247"/>
            <ac:spMk id="77" creationId="{4942CCC5-D95B-4207-8205-F0763E85CBE5}"/>
          </ac:spMkLst>
        </pc:spChg>
        <pc:spChg chg="add mod">
          <ac:chgData name="John Deardurff" userId="a22eae058e899168" providerId="LiveId" clId="{725BA76B-26D7-49BC-9982-98E544B806D5}" dt="2022-01-29T14:51:39.723" v="694" actId="1035"/>
          <ac:spMkLst>
            <pc:docMk/>
            <pc:sldMk cId="602236569" sldId="2134805247"/>
            <ac:spMk id="79" creationId="{2DFCD618-C44C-4D65-8B87-94DA7BEF54AB}"/>
          </ac:spMkLst>
        </pc:spChg>
        <pc:spChg chg="add mod">
          <ac:chgData name="John Deardurff" userId="a22eae058e899168" providerId="LiveId" clId="{725BA76B-26D7-49BC-9982-98E544B806D5}" dt="2022-01-29T14:50:56.993" v="681" actId="1076"/>
          <ac:spMkLst>
            <pc:docMk/>
            <pc:sldMk cId="602236569" sldId="2134805247"/>
            <ac:spMk id="89" creationId="{73A6CB0F-FA20-408D-8F67-45F44C2492C3}"/>
          </ac:spMkLst>
        </pc:spChg>
        <pc:spChg chg="add mod">
          <ac:chgData name="John Deardurff" userId="a22eae058e899168" providerId="LiveId" clId="{725BA76B-26D7-49BC-9982-98E544B806D5}" dt="2022-01-29T14:50:53.475" v="680" actId="1076"/>
          <ac:spMkLst>
            <pc:docMk/>
            <pc:sldMk cId="602236569" sldId="2134805247"/>
            <ac:spMk id="91" creationId="{451DE768-B5AF-408D-B29E-73C2BC26C992}"/>
          </ac:spMkLst>
        </pc:spChg>
        <pc:spChg chg="add mod">
          <ac:chgData name="John Deardurff" userId="a22eae058e899168" providerId="LiveId" clId="{725BA76B-26D7-49BC-9982-98E544B806D5}" dt="2022-01-29T14:51:35.704" v="692" actId="1036"/>
          <ac:spMkLst>
            <pc:docMk/>
            <pc:sldMk cId="602236569" sldId="2134805247"/>
            <ac:spMk id="93" creationId="{D7A85FCF-BD0B-45BD-B229-00046DCBB91F}"/>
          </ac:spMkLst>
        </pc:spChg>
        <pc:spChg chg="del">
          <ac:chgData name="John Deardurff" userId="a22eae058e899168" providerId="LiveId" clId="{725BA76B-26D7-49BC-9982-98E544B806D5}" dt="2022-01-29T14:17:01.709" v="173" actId="21"/>
          <ac:spMkLst>
            <pc:docMk/>
            <pc:sldMk cId="602236569" sldId="2134805247"/>
            <ac:spMk id="159" creationId="{EF9716FB-CF3C-D34C-9D1A-F610D01AD96F}"/>
          </ac:spMkLst>
        </pc:spChg>
        <pc:grpChg chg="del">
          <ac:chgData name="John Deardurff" userId="a22eae058e899168" providerId="LiveId" clId="{725BA76B-26D7-49BC-9982-98E544B806D5}" dt="2022-01-29T14:17:01.709" v="173" actId="21"/>
          <ac:grpSpMkLst>
            <pc:docMk/>
            <pc:sldMk cId="602236569" sldId="2134805247"/>
            <ac:grpSpMk id="81" creationId="{8127B48A-ACEB-4CB7-8E12-15BCD7431185}"/>
          </ac:grpSpMkLst>
        </pc:grpChg>
        <pc:graphicFrameChg chg="mod modGraphic">
          <ac:chgData name="John Deardurff" userId="a22eae058e899168" providerId="LiveId" clId="{725BA76B-26D7-49BC-9982-98E544B806D5}" dt="2022-01-29T14:51:28.214" v="687" actId="1076"/>
          <ac:graphicFrameMkLst>
            <pc:docMk/>
            <pc:sldMk cId="602236569" sldId="2134805247"/>
            <ac:graphicFrameMk id="4" creationId="{ABE3EEB7-E438-44FD-BE62-06DF4539195B}"/>
          </ac:graphicFrameMkLst>
        </pc:graphicFrameChg>
        <pc:picChg chg="add del">
          <ac:chgData name="John Deardurff" userId="a22eae058e899168" providerId="LiveId" clId="{725BA76B-26D7-49BC-9982-98E544B806D5}" dt="2022-01-29T14:57:14.511" v="719" actId="478"/>
          <ac:picMkLst>
            <pc:docMk/>
            <pc:sldMk cId="602236569" sldId="2134805247"/>
            <ac:picMk id="16" creationId="{9848CE19-E7CA-EA44-97FE-E5C67357D0FA}"/>
          </ac:picMkLst>
        </pc:picChg>
      </pc:sldChg>
      <pc:sldChg chg="add setBg">
        <pc:chgData name="John Deardurff" userId="a22eae058e899168" providerId="LiveId" clId="{725BA76B-26D7-49BC-9982-98E544B806D5}" dt="2022-01-29T14:12:52.827" v="3"/>
        <pc:sldMkLst>
          <pc:docMk/>
          <pc:sldMk cId="1246877874" sldId="2134805248"/>
        </pc:sldMkLst>
      </pc:sldChg>
      <pc:sldChg chg="add setBg">
        <pc:chgData name="John Deardurff" userId="a22eae058e899168" providerId="LiveId" clId="{725BA76B-26D7-49BC-9982-98E544B806D5}" dt="2022-01-29T14:12:52.827" v="3"/>
        <pc:sldMkLst>
          <pc:docMk/>
          <pc:sldMk cId="1953309121" sldId="2134805249"/>
        </pc:sldMkLst>
      </pc:sldChg>
      <pc:sldChg chg="add setBg">
        <pc:chgData name="John Deardurff" userId="a22eae058e899168" providerId="LiveId" clId="{725BA76B-26D7-49BC-9982-98E544B806D5}" dt="2022-01-29T14:12:52.827" v="3"/>
        <pc:sldMkLst>
          <pc:docMk/>
          <pc:sldMk cId="4072514912" sldId="2134805250"/>
        </pc:sldMkLst>
      </pc:sldChg>
      <pc:sldChg chg="addSp delSp modSp add mod modNotesTx">
        <pc:chgData name="John Deardurff" userId="a22eae058e899168" providerId="LiveId" clId="{725BA76B-26D7-49BC-9982-98E544B806D5}" dt="2022-01-29T14:22:28.808" v="248" actId="20577"/>
        <pc:sldMkLst>
          <pc:docMk/>
          <pc:sldMk cId="897039915" sldId="2134805251"/>
        </pc:sldMkLst>
        <pc:spChg chg="mod">
          <ac:chgData name="John Deardurff" userId="a22eae058e899168" providerId="LiveId" clId="{725BA76B-26D7-49BC-9982-98E544B806D5}" dt="2022-01-29T14:18:36.510" v="200" actId="1076"/>
          <ac:spMkLst>
            <pc:docMk/>
            <pc:sldMk cId="897039915" sldId="2134805251"/>
            <ac:spMk id="2" creationId="{4A016FFA-2EB9-3045-A290-915E8AB463B0}"/>
          </ac:spMkLst>
        </pc:spChg>
        <pc:spChg chg="mod">
          <ac:chgData name="John Deardurff" userId="a22eae058e899168" providerId="LiveId" clId="{725BA76B-26D7-49BC-9982-98E544B806D5}" dt="2022-01-29T14:21:28.340" v="244" actId="20577"/>
          <ac:spMkLst>
            <pc:docMk/>
            <pc:sldMk cId="897039915" sldId="2134805251"/>
            <ac:spMk id="3" creationId="{E020A647-56F4-BD47-9924-3669AC42A150}"/>
          </ac:spMkLst>
        </pc:spChg>
        <pc:spChg chg="del">
          <ac:chgData name="John Deardurff" userId="a22eae058e899168" providerId="LiveId" clId="{725BA76B-26D7-49BC-9982-98E544B806D5}" dt="2022-01-29T14:17:13.340" v="176" actId="478"/>
          <ac:spMkLst>
            <pc:docMk/>
            <pc:sldMk cId="897039915" sldId="2134805251"/>
            <ac:spMk id="5" creationId="{7DE98354-88E8-4DAF-8EEB-EC96CA1D80F6}"/>
          </ac:spMkLst>
        </pc:spChg>
        <pc:spChg chg="del">
          <ac:chgData name="John Deardurff" userId="a22eae058e899168" providerId="LiveId" clId="{725BA76B-26D7-49BC-9982-98E544B806D5}" dt="2022-01-29T14:17:13.340" v="176" actId="478"/>
          <ac:spMkLst>
            <pc:docMk/>
            <pc:sldMk cId="897039915" sldId="2134805251"/>
            <ac:spMk id="6" creationId="{77A6BA3B-F5B4-4285-B8DE-9065B6818CDB}"/>
          </ac:spMkLst>
        </pc:spChg>
        <pc:spChg chg="del">
          <ac:chgData name="John Deardurff" userId="a22eae058e899168" providerId="LiveId" clId="{725BA76B-26D7-49BC-9982-98E544B806D5}" dt="2022-01-29T14:17:13.340" v="176" actId="478"/>
          <ac:spMkLst>
            <pc:docMk/>
            <pc:sldMk cId="897039915" sldId="2134805251"/>
            <ac:spMk id="7" creationId="{8712BD6F-1212-4463-B323-C157D552F57B}"/>
          </ac:spMkLst>
        </pc:spChg>
        <pc:spChg chg="del">
          <ac:chgData name="John Deardurff" userId="a22eae058e899168" providerId="LiveId" clId="{725BA76B-26D7-49BC-9982-98E544B806D5}" dt="2022-01-29T14:17:13.340" v="176" actId="478"/>
          <ac:spMkLst>
            <pc:docMk/>
            <pc:sldMk cId="897039915" sldId="2134805251"/>
            <ac:spMk id="8" creationId="{693B2874-4C74-4C87-AFFD-106A163BFEB9}"/>
          </ac:spMkLst>
        </pc:spChg>
        <pc:spChg chg="del">
          <ac:chgData name="John Deardurff" userId="a22eae058e899168" providerId="LiveId" clId="{725BA76B-26D7-49BC-9982-98E544B806D5}" dt="2022-01-29T14:17:13.340" v="176" actId="478"/>
          <ac:spMkLst>
            <pc:docMk/>
            <pc:sldMk cId="897039915" sldId="2134805251"/>
            <ac:spMk id="9" creationId="{FD60501A-4EAF-4913-A03C-6B71541BDA5E}"/>
          </ac:spMkLst>
        </pc:spChg>
        <pc:spChg chg="del">
          <ac:chgData name="John Deardurff" userId="a22eae058e899168" providerId="LiveId" clId="{725BA76B-26D7-49BC-9982-98E544B806D5}" dt="2022-01-29T14:17:13.340" v="176" actId="478"/>
          <ac:spMkLst>
            <pc:docMk/>
            <pc:sldMk cId="897039915" sldId="2134805251"/>
            <ac:spMk id="10" creationId="{23063F71-DC86-4102-980E-09F9FCEDF33F}"/>
          </ac:spMkLst>
        </pc:spChg>
        <pc:spChg chg="del">
          <ac:chgData name="John Deardurff" userId="a22eae058e899168" providerId="LiveId" clId="{725BA76B-26D7-49BC-9982-98E544B806D5}" dt="2022-01-29T14:17:13.340" v="176" actId="478"/>
          <ac:spMkLst>
            <pc:docMk/>
            <pc:sldMk cId="897039915" sldId="2134805251"/>
            <ac:spMk id="11" creationId="{96553E19-22B5-4EBC-9D44-EBCFA77D878E}"/>
          </ac:spMkLst>
        </pc:spChg>
        <pc:spChg chg="del">
          <ac:chgData name="John Deardurff" userId="a22eae058e899168" providerId="LiveId" clId="{725BA76B-26D7-49BC-9982-98E544B806D5}" dt="2022-01-29T14:17:13.340" v="176" actId="478"/>
          <ac:spMkLst>
            <pc:docMk/>
            <pc:sldMk cId="897039915" sldId="2134805251"/>
            <ac:spMk id="12" creationId="{6293D7A1-15DC-4147-AB78-86E64EE90224}"/>
          </ac:spMkLst>
        </pc:spChg>
        <pc:spChg chg="del">
          <ac:chgData name="John Deardurff" userId="a22eae058e899168" providerId="LiveId" clId="{725BA76B-26D7-49BC-9982-98E544B806D5}" dt="2022-01-29T14:17:13.340" v="176" actId="478"/>
          <ac:spMkLst>
            <pc:docMk/>
            <pc:sldMk cId="897039915" sldId="2134805251"/>
            <ac:spMk id="13" creationId="{651E9852-DA1E-4416-B775-7E0482324CE5}"/>
          </ac:spMkLst>
        </pc:spChg>
        <pc:spChg chg="del">
          <ac:chgData name="John Deardurff" userId="a22eae058e899168" providerId="LiveId" clId="{725BA76B-26D7-49BC-9982-98E544B806D5}" dt="2022-01-29T14:17:13.340" v="176" actId="478"/>
          <ac:spMkLst>
            <pc:docMk/>
            <pc:sldMk cId="897039915" sldId="2134805251"/>
            <ac:spMk id="14" creationId="{775F4660-3794-4925-A83A-99C6E495E7EF}"/>
          </ac:spMkLst>
        </pc:spChg>
        <pc:spChg chg="del">
          <ac:chgData name="John Deardurff" userId="a22eae058e899168" providerId="LiveId" clId="{725BA76B-26D7-49BC-9982-98E544B806D5}" dt="2022-01-29T14:17:13.340" v="176" actId="478"/>
          <ac:spMkLst>
            <pc:docMk/>
            <pc:sldMk cId="897039915" sldId="2134805251"/>
            <ac:spMk id="17" creationId="{9E7A44D5-8E80-4237-8AA8-38ED5D41AF14}"/>
          </ac:spMkLst>
        </pc:spChg>
        <pc:spChg chg="del">
          <ac:chgData name="John Deardurff" userId="a22eae058e899168" providerId="LiveId" clId="{725BA76B-26D7-49BC-9982-98E544B806D5}" dt="2022-01-29T14:17:13.340" v="176" actId="478"/>
          <ac:spMkLst>
            <pc:docMk/>
            <pc:sldMk cId="897039915" sldId="2134805251"/>
            <ac:spMk id="19" creationId="{9D6F0BBE-65BB-41AE-82E0-53921DD05101}"/>
          </ac:spMkLst>
        </pc:spChg>
        <pc:spChg chg="del">
          <ac:chgData name="John Deardurff" userId="a22eae058e899168" providerId="LiveId" clId="{725BA76B-26D7-49BC-9982-98E544B806D5}" dt="2022-01-29T14:17:13.340" v="176" actId="478"/>
          <ac:spMkLst>
            <pc:docMk/>
            <pc:sldMk cId="897039915" sldId="2134805251"/>
            <ac:spMk id="20" creationId="{1E48B69E-7071-4262-BF74-E2EF3BE32352}"/>
          </ac:spMkLst>
        </pc:spChg>
        <pc:spChg chg="del">
          <ac:chgData name="John Deardurff" userId="a22eae058e899168" providerId="LiveId" clId="{725BA76B-26D7-49BC-9982-98E544B806D5}" dt="2022-01-29T14:17:13.340" v="176" actId="478"/>
          <ac:spMkLst>
            <pc:docMk/>
            <pc:sldMk cId="897039915" sldId="2134805251"/>
            <ac:spMk id="21" creationId="{0576AA17-591F-4213-8B08-5B07B865D9F1}"/>
          </ac:spMkLst>
        </pc:spChg>
        <pc:spChg chg="del">
          <ac:chgData name="John Deardurff" userId="a22eae058e899168" providerId="LiveId" clId="{725BA76B-26D7-49BC-9982-98E544B806D5}" dt="2022-01-29T14:17:13.340" v="176" actId="478"/>
          <ac:spMkLst>
            <pc:docMk/>
            <pc:sldMk cId="897039915" sldId="2134805251"/>
            <ac:spMk id="22" creationId="{DADB9171-0D27-4574-ABF5-2378E461EC10}"/>
          </ac:spMkLst>
        </pc:spChg>
        <pc:spChg chg="del">
          <ac:chgData name="John Deardurff" userId="a22eae058e899168" providerId="LiveId" clId="{725BA76B-26D7-49BC-9982-98E544B806D5}" dt="2022-01-29T14:17:13.340" v="176" actId="478"/>
          <ac:spMkLst>
            <pc:docMk/>
            <pc:sldMk cId="897039915" sldId="2134805251"/>
            <ac:spMk id="23" creationId="{49860C95-C1E1-4BB5-9567-F70C48E5ADC5}"/>
          </ac:spMkLst>
        </pc:spChg>
        <pc:spChg chg="del">
          <ac:chgData name="John Deardurff" userId="a22eae058e899168" providerId="LiveId" clId="{725BA76B-26D7-49BC-9982-98E544B806D5}" dt="2022-01-29T14:17:13.340" v="176" actId="478"/>
          <ac:spMkLst>
            <pc:docMk/>
            <pc:sldMk cId="897039915" sldId="2134805251"/>
            <ac:spMk id="24" creationId="{62603E11-74AC-40D1-8E12-2FF5737381A5}"/>
          </ac:spMkLst>
        </pc:spChg>
        <pc:spChg chg="del">
          <ac:chgData name="John Deardurff" userId="a22eae058e899168" providerId="LiveId" clId="{725BA76B-26D7-49BC-9982-98E544B806D5}" dt="2022-01-29T14:17:13.340" v="176" actId="478"/>
          <ac:spMkLst>
            <pc:docMk/>
            <pc:sldMk cId="897039915" sldId="2134805251"/>
            <ac:spMk id="25" creationId="{1528C4E1-F1DE-4494-B562-C6EF7972A9A4}"/>
          </ac:spMkLst>
        </pc:spChg>
        <pc:spChg chg="del">
          <ac:chgData name="John Deardurff" userId="a22eae058e899168" providerId="LiveId" clId="{725BA76B-26D7-49BC-9982-98E544B806D5}" dt="2022-01-29T14:17:13.340" v="176" actId="478"/>
          <ac:spMkLst>
            <pc:docMk/>
            <pc:sldMk cId="897039915" sldId="2134805251"/>
            <ac:spMk id="26" creationId="{5C61E500-2420-4A8B-A778-3B22BB73A2D0}"/>
          </ac:spMkLst>
        </pc:spChg>
        <pc:spChg chg="del">
          <ac:chgData name="John Deardurff" userId="a22eae058e899168" providerId="LiveId" clId="{725BA76B-26D7-49BC-9982-98E544B806D5}" dt="2022-01-29T14:17:13.340" v="176" actId="478"/>
          <ac:spMkLst>
            <pc:docMk/>
            <pc:sldMk cId="897039915" sldId="2134805251"/>
            <ac:spMk id="27" creationId="{D916AF2F-1B46-4340-8E8B-7AEB7D5D25E0}"/>
          </ac:spMkLst>
        </pc:spChg>
        <pc:spChg chg="del">
          <ac:chgData name="John Deardurff" userId="a22eae058e899168" providerId="LiveId" clId="{725BA76B-26D7-49BC-9982-98E544B806D5}" dt="2022-01-29T14:17:13.340" v="176" actId="478"/>
          <ac:spMkLst>
            <pc:docMk/>
            <pc:sldMk cId="897039915" sldId="2134805251"/>
            <ac:spMk id="28" creationId="{04F824E4-3214-4008-86D7-AA40EDDA9F2C}"/>
          </ac:spMkLst>
        </pc:spChg>
        <pc:spChg chg="mod topLvl">
          <ac:chgData name="John Deardurff" userId="a22eae058e899168" providerId="LiveId" clId="{725BA76B-26D7-49BC-9982-98E544B806D5}" dt="2022-01-29T14:21:00.576" v="219" actId="1076"/>
          <ac:spMkLst>
            <pc:docMk/>
            <pc:sldMk cId="897039915" sldId="2134805251"/>
            <ac:spMk id="34" creationId="{310267FC-40AB-4148-99C8-30F8F4F93DBE}"/>
          </ac:spMkLst>
        </pc:spChg>
        <pc:spChg chg="mod topLvl">
          <ac:chgData name="John Deardurff" userId="a22eae058e899168" providerId="LiveId" clId="{725BA76B-26D7-49BC-9982-98E544B806D5}" dt="2022-01-29T14:21:00.576" v="219" actId="1076"/>
          <ac:spMkLst>
            <pc:docMk/>
            <pc:sldMk cId="897039915" sldId="2134805251"/>
            <ac:spMk id="36" creationId="{3AE9AF9D-788A-4A91-8145-962163CB92F3}"/>
          </ac:spMkLst>
        </pc:spChg>
        <pc:spChg chg="add del mod">
          <ac:chgData name="John Deardurff" userId="a22eae058e899168" providerId="LiveId" clId="{725BA76B-26D7-49BC-9982-98E544B806D5}" dt="2022-01-29T14:19:03.813" v="206" actId="12084"/>
          <ac:spMkLst>
            <pc:docMk/>
            <pc:sldMk cId="897039915" sldId="2134805251"/>
            <ac:spMk id="37" creationId="{2DCF700C-85C6-42BC-B5B3-8776BDC56659}"/>
          </ac:spMkLst>
        </pc:spChg>
        <pc:spChg chg="del">
          <ac:chgData name="John Deardurff" userId="a22eae058e899168" providerId="LiveId" clId="{725BA76B-26D7-49BC-9982-98E544B806D5}" dt="2022-01-29T14:17:13.340" v="176" actId="478"/>
          <ac:spMkLst>
            <pc:docMk/>
            <pc:sldMk cId="897039915" sldId="2134805251"/>
            <ac:spMk id="44" creationId="{13610BDA-78B0-4F3C-9995-AD85D68DC59A}"/>
          </ac:spMkLst>
        </pc:spChg>
        <pc:spChg chg="del">
          <ac:chgData name="John Deardurff" userId="a22eae058e899168" providerId="LiveId" clId="{725BA76B-26D7-49BC-9982-98E544B806D5}" dt="2022-01-29T14:17:13.340" v="176" actId="478"/>
          <ac:spMkLst>
            <pc:docMk/>
            <pc:sldMk cId="897039915" sldId="2134805251"/>
            <ac:spMk id="46" creationId="{8F0AA2C2-92BD-45FD-95C6-08C66A339101}"/>
          </ac:spMkLst>
        </pc:spChg>
        <pc:spChg chg="del">
          <ac:chgData name="John Deardurff" userId="a22eae058e899168" providerId="LiveId" clId="{725BA76B-26D7-49BC-9982-98E544B806D5}" dt="2022-01-29T14:17:13.340" v="176" actId="478"/>
          <ac:spMkLst>
            <pc:docMk/>
            <pc:sldMk cId="897039915" sldId="2134805251"/>
            <ac:spMk id="48" creationId="{4AB8D655-8A9C-4E80-99ED-CF51A6F7C514}"/>
          </ac:spMkLst>
        </pc:spChg>
        <pc:spChg chg="del">
          <ac:chgData name="John Deardurff" userId="a22eae058e899168" providerId="LiveId" clId="{725BA76B-26D7-49BC-9982-98E544B806D5}" dt="2022-01-29T14:17:13.340" v="176" actId="478"/>
          <ac:spMkLst>
            <pc:docMk/>
            <pc:sldMk cId="897039915" sldId="2134805251"/>
            <ac:spMk id="50" creationId="{C425482D-DB6F-4475-83E2-07BB9844AAE0}"/>
          </ac:spMkLst>
        </pc:spChg>
        <pc:spChg chg="del">
          <ac:chgData name="John Deardurff" userId="a22eae058e899168" providerId="LiveId" clId="{725BA76B-26D7-49BC-9982-98E544B806D5}" dt="2022-01-29T14:17:13.340" v="176" actId="478"/>
          <ac:spMkLst>
            <pc:docMk/>
            <pc:sldMk cId="897039915" sldId="2134805251"/>
            <ac:spMk id="52" creationId="{C24E2BB1-B179-45AB-970E-EE9A2C7744BE}"/>
          </ac:spMkLst>
        </pc:spChg>
        <pc:spChg chg="del">
          <ac:chgData name="John Deardurff" userId="a22eae058e899168" providerId="LiveId" clId="{725BA76B-26D7-49BC-9982-98E544B806D5}" dt="2022-01-29T14:17:13.340" v="176" actId="478"/>
          <ac:spMkLst>
            <pc:docMk/>
            <pc:sldMk cId="897039915" sldId="2134805251"/>
            <ac:spMk id="54" creationId="{7F206BB8-3F6E-4A75-BCB0-83683B9AF274}"/>
          </ac:spMkLst>
        </pc:spChg>
        <pc:grpChg chg="add mod">
          <ac:chgData name="John Deardurff" userId="a22eae058e899168" providerId="LiveId" clId="{725BA76B-26D7-49BC-9982-98E544B806D5}" dt="2022-01-29T14:21:00.576" v="219" actId="1076"/>
          <ac:grpSpMkLst>
            <pc:docMk/>
            <pc:sldMk cId="897039915" sldId="2134805251"/>
            <ac:grpSpMk id="15" creationId="{79060723-8DB4-4DD7-A0A3-E8BD079F2579}"/>
          </ac:grpSpMkLst>
        </pc:grpChg>
        <pc:grpChg chg="add del mod">
          <ac:chgData name="John Deardurff" userId="a22eae058e899168" providerId="LiveId" clId="{725BA76B-26D7-49BC-9982-98E544B806D5}" dt="2022-01-29T14:18:07.490" v="189" actId="165"/>
          <ac:grpSpMkLst>
            <pc:docMk/>
            <pc:sldMk cId="897039915" sldId="2134805251"/>
            <ac:grpSpMk id="33" creationId="{C16C40AB-AB82-4D83-9A93-D9A347BC2015}"/>
          </ac:grpSpMkLst>
        </pc:grpChg>
        <pc:graphicFrameChg chg="del">
          <ac:chgData name="John Deardurff" userId="a22eae058e899168" providerId="LiveId" clId="{725BA76B-26D7-49BC-9982-98E544B806D5}" dt="2022-01-29T14:17:10.254" v="175" actId="478"/>
          <ac:graphicFrameMkLst>
            <pc:docMk/>
            <pc:sldMk cId="897039915" sldId="2134805251"/>
            <ac:graphicFrameMk id="4" creationId="{ABE3EEB7-E438-44FD-BE62-06DF4539195B}"/>
          </ac:graphicFrameMkLst>
        </pc:graphicFrameChg>
        <pc:graphicFrameChg chg="add mod">
          <ac:chgData name="John Deardurff" userId="a22eae058e899168" providerId="LiveId" clId="{725BA76B-26D7-49BC-9982-98E544B806D5}" dt="2022-01-29T14:22:28.808" v="248" actId="20577"/>
          <ac:graphicFrameMkLst>
            <pc:docMk/>
            <pc:sldMk cId="897039915" sldId="2134805251"/>
            <ac:graphicFrameMk id="18" creationId="{FB346774-253A-415F-B65A-E214D164EBCA}"/>
          </ac:graphicFrameMkLst>
        </pc:graphicFrameChg>
        <pc:picChg chg="del">
          <ac:chgData name="John Deardurff" userId="a22eae058e899168" providerId="LiveId" clId="{725BA76B-26D7-49BC-9982-98E544B806D5}" dt="2022-01-29T14:20:56.717" v="218" actId="478"/>
          <ac:picMkLst>
            <pc:docMk/>
            <pc:sldMk cId="897039915" sldId="2134805251"/>
            <ac:picMk id="16" creationId="{9848CE19-E7CA-EA44-97FE-E5C67357D0FA}"/>
          </ac:picMkLst>
        </pc:picChg>
        <pc:picChg chg="mod topLvl">
          <ac:chgData name="John Deardurff" userId="a22eae058e899168" providerId="LiveId" clId="{725BA76B-26D7-49BC-9982-98E544B806D5}" dt="2022-01-29T14:21:00.576" v="219" actId="1076"/>
          <ac:picMkLst>
            <pc:docMk/>
            <pc:sldMk cId="897039915" sldId="2134805251"/>
            <ac:picMk id="35" creationId="{9925C6AB-F50E-4273-B2B7-3AAEF87EB37F}"/>
          </ac:picMkLst>
        </pc:picChg>
      </pc:sldChg>
      <pc:sldChg chg="addSp delSp modSp add mod">
        <pc:chgData name="John Deardurff" userId="a22eae058e899168" providerId="LiveId" clId="{725BA76B-26D7-49BC-9982-98E544B806D5}" dt="2022-01-29T15:08:02.645" v="947"/>
        <pc:sldMkLst>
          <pc:docMk/>
          <pc:sldMk cId="3884594405" sldId="2134805253"/>
        </pc:sldMkLst>
        <pc:spChg chg="del mod">
          <ac:chgData name="John Deardurff" userId="a22eae058e899168" providerId="LiveId" clId="{725BA76B-26D7-49BC-9982-98E544B806D5}" dt="2022-01-29T14:59:15.024" v="729" actId="478"/>
          <ac:spMkLst>
            <pc:docMk/>
            <pc:sldMk cId="3884594405" sldId="2134805253"/>
            <ac:spMk id="3" creationId="{9BF6D2B5-24E6-4CA1-8FE5-BF70B9F27CFC}"/>
          </ac:spMkLst>
        </pc:spChg>
        <pc:spChg chg="add del mod">
          <ac:chgData name="John Deardurff" userId="a22eae058e899168" providerId="LiveId" clId="{725BA76B-26D7-49BC-9982-98E544B806D5}" dt="2022-01-29T15:04:49.227" v="814" actId="12084"/>
          <ac:spMkLst>
            <pc:docMk/>
            <pc:sldMk cId="3884594405" sldId="2134805253"/>
            <ac:spMk id="4" creationId="{F6BC00C3-A04B-40B0-8D11-AC5B9824B872}"/>
          </ac:spMkLst>
        </pc:spChg>
        <pc:spChg chg="del">
          <ac:chgData name="John Deardurff" userId="a22eae058e899168" providerId="LiveId" clId="{725BA76B-26D7-49BC-9982-98E544B806D5}" dt="2022-01-29T14:59:08.284" v="727" actId="478"/>
          <ac:spMkLst>
            <pc:docMk/>
            <pc:sldMk cId="3884594405" sldId="2134805253"/>
            <ac:spMk id="28" creationId="{E3E234EF-54F8-4CEF-805C-EEACCC7361D6}"/>
          </ac:spMkLst>
        </pc:spChg>
        <pc:spChg chg="del">
          <ac:chgData name="John Deardurff" userId="a22eae058e899168" providerId="LiveId" clId="{725BA76B-26D7-49BC-9982-98E544B806D5}" dt="2022-01-29T14:59:06.517" v="726" actId="478"/>
          <ac:spMkLst>
            <pc:docMk/>
            <pc:sldMk cId="3884594405" sldId="2134805253"/>
            <ac:spMk id="34" creationId="{DD4651D6-3A83-41A3-93AE-4EE149B314D4}"/>
          </ac:spMkLst>
        </pc:spChg>
        <pc:spChg chg="del">
          <ac:chgData name="John Deardurff" userId="a22eae058e899168" providerId="LiveId" clId="{725BA76B-26D7-49BC-9982-98E544B806D5}" dt="2022-01-29T14:59:04.922" v="725" actId="478"/>
          <ac:spMkLst>
            <pc:docMk/>
            <pc:sldMk cId="3884594405" sldId="2134805253"/>
            <ac:spMk id="36" creationId="{F4C3289A-36AC-4FA3-A436-746BF7C691FD}"/>
          </ac:spMkLst>
        </pc:spChg>
        <pc:graphicFrameChg chg="add mod">
          <ac:chgData name="John Deardurff" userId="a22eae058e899168" providerId="LiveId" clId="{725BA76B-26D7-49BC-9982-98E544B806D5}" dt="2022-01-29T15:08:02.645" v="947"/>
          <ac:graphicFrameMkLst>
            <pc:docMk/>
            <pc:sldMk cId="3884594405" sldId="2134805253"/>
            <ac:graphicFrameMk id="5" creationId="{7E81906E-9EE0-493C-9326-EBE22954011B}"/>
          </ac:graphicFrameMkLst>
        </pc:graphicFrameChg>
        <pc:graphicFrameChg chg="del">
          <ac:chgData name="John Deardurff" userId="a22eae058e899168" providerId="LiveId" clId="{725BA76B-26D7-49BC-9982-98E544B806D5}" dt="2022-01-29T14:59:00.388" v="724" actId="478"/>
          <ac:graphicFrameMkLst>
            <pc:docMk/>
            <pc:sldMk cId="3884594405" sldId="2134805253"/>
            <ac:graphicFrameMk id="9" creationId="{24AC42F7-5534-4C51-ADEB-B251E127FB03}"/>
          </ac:graphicFrameMkLst>
        </pc:graphicFrameChg>
      </pc:sldChg>
      <pc:sldMasterChg chg="modSp mod setBg delSldLayout modSldLayout">
        <pc:chgData name="John Deardurff" userId="a22eae058e899168" providerId="LiveId" clId="{725BA76B-26D7-49BC-9982-98E544B806D5}" dt="2022-01-29T14:54:11.633" v="707"/>
        <pc:sldMasterMkLst>
          <pc:docMk/>
          <pc:sldMasterMk cId="2961596853" sldId="2147483660"/>
        </pc:sldMasterMkLst>
        <pc:spChg chg="mod">
          <ac:chgData name="John Deardurff" userId="a22eae058e899168" providerId="LiveId" clId="{725BA76B-26D7-49BC-9982-98E544B806D5}" dt="2022-01-29T14:15:23.277" v="161" actId="1076"/>
          <ac:spMkLst>
            <pc:docMk/>
            <pc:sldMasterMk cId="2961596853" sldId="2147483660"/>
            <ac:spMk id="7" creationId="{86B374D5-5744-4147-B311-13B6E1E8798F}"/>
          </ac:spMkLst>
        </pc:spChg>
        <pc:spChg chg="mod">
          <ac:chgData name="John Deardurff" userId="a22eae058e899168" providerId="LiveId" clId="{725BA76B-26D7-49BC-9982-98E544B806D5}" dt="2022-01-29T14:53:51.340" v="704" actId="207"/>
          <ac:spMkLst>
            <pc:docMk/>
            <pc:sldMasterMk cId="2961596853" sldId="2147483660"/>
            <ac:spMk id="9" creationId="{00000000-0000-0000-0000-000000000000}"/>
          </ac:spMkLst>
        </pc:spChg>
        <pc:sldLayoutChg chg="setBg">
          <pc:chgData name="John Deardurff" userId="a22eae058e899168" providerId="LiveId" clId="{725BA76B-26D7-49BC-9982-98E544B806D5}" dt="2022-01-29T14:54:11.633" v="707"/>
          <pc:sldLayoutMkLst>
            <pc:docMk/>
            <pc:sldMasterMk cId="2961596853" sldId="2147483660"/>
            <pc:sldLayoutMk cId="1516877200" sldId="2147483662"/>
          </pc:sldLayoutMkLst>
        </pc:sldLayoutChg>
        <pc:sldLayoutChg chg="setBg">
          <pc:chgData name="John Deardurff" userId="a22eae058e899168" providerId="LiveId" clId="{725BA76B-26D7-49BC-9982-98E544B806D5}" dt="2022-01-29T14:54:11.633" v="707"/>
          <pc:sldLayoutMkLst>
            <pc:docMk/>
            <pc:sldMasterMk cId="2961596853" sldId="2147483660"/>
            <pc:sldLayoutMk cId="2680933179" sldId="2147483663"/>
          </pc:sldLayoutMkLst>
        </pc:sldLayoutChg>
        <pc:sldLayoutChg chg="del">
          <pc:chgData name="John Deardurff" userId="a22eae058e899168" providerId="LiveId" clId="{725BA76B-26D7-49BC-9982-98E544B806D5}" dt="2022-01-29T14:12:28.919" v="2" actId="47"/>
          <pc:sldLayoutMkLst>
            <pc:docMk/>
            <pc:sldMasterMk cId="2961596853" sldId="2147483660"/>
            <pc:sldLayoutMk cId="3266356058" sldId="2147483799"/>
          </pc:sldLayoutMkLst>
        </pc:sldLayoutChg>
        <pc:sldLayoutChg chg="setBg">
          <pc:chgData name="John Deardurff" userId="a22eae058e899168" providerId="LiveId" clId="{725BA76B-26D7-49BC-9982-98E544B806D5}" dt="2022-01-29T14:54:11.633" v="707"/>
          <pc:sldLayoutMkLst>
            <pc:docMk/>
            <pc:sldMasterMk cId="2961596853" sldId="2147483660"/>
            <pc:sldLayoutMk cId="1896985668" sldId="2147484880"/>
          </pc:sldLayoutMkLst>
        </pc:sldLayoutChg>
        <pc:sldLayoutChg chg="setBg">
          <pc:chgData name="John Deardurff" userId="a22eae058e899168" providerId="LiveId" clId="{725BA76B-26D7-49BC-9982-98E544B806D5}" dt="2022-01-29T14:54:11.633" v="707"/>
          <pc:sldLayoutMkLst>
            <pc:docMk/>
            <pc:sldMasterMk cId="2961596853" sldId="2147483660"/>
            <pc:sldLayoutMk cId="446979477" sldId="2147484931"/>
          </pc:sldLayoutMkLst>
        </pc:sldLayoutChg>
        <pc:sldLayoutChg chg="setBg">
          <pc:chgData name="John Deardurff" userId="a22eae058e899168" providerId="LiveId" clId="{725BA76B-26D7-49BC-9982-98E544B806D5}" dt="2022-01-29T14:54:11.633" v="707"/>
          <pc:sldLayoutMkLst>
            <pc:docMk/>
            <pc:sldMasterMk cId="2961596853" sldId="2147483660"/>
            <pc:sldLayoutMk cId="2594776500" sldId="2147484932"/>
          </pc:sldLayoutMkLst>
        </pc:sldLayoutChg>
        <pc:sldLayoutChg chg="setBg">
          <pc:chgData name="John Deardurff" userId="a22eae058e899168" providerId="LiveId" clId="{725BA76B-26D7-49BC-9982-98E544B806D5}" dt="2022-01-29T14:54:11.633" v="707"/>
          <pc:sldLayoutMkLst>
            <pc:docMk/>
            <pc:sldMasterMk cId="2961596853" sldId="2147483660"/>
            <pc:sldLayoutMk cId="437364424" sldId="2147484933"/>
          </pc:sldLayoutMkLst>
        </pc:sldLayoutChg>
        <pc:sldLayoutChg chg="setBg">
          <pc:chgData name="John Deardurff" userId="a22eae058e899168" providerId="LiveId" clId="{725BA76B-26D7-49BC-9982-98E544B806D5}" dt="2022-01-29T14:54:11.633" v="707"/>
          <pc:sldLayoutMkLst>
            <pc:docMk/>
            <pc:sldMasterMk cId="2961596853" sldId="2147483660"/>
            <pc:sldLayoutMk cId="2225200440" sldId="2147484934"/>
          </pc:sldLayoutMkLst>
        </pc:sldLayoutChg>
        <pc:sldLayoutChg chg="setBg">
          <pc:chgData name="John Deardurff" userId="a22eae058e899168" providerId="LiveId" clId="{725BA76B-26D7-49BC-9982-98E544B806D5}" dt="2022-01-29T14:54:11.633" v="707"/>
          <pc:sldLayoutMkLst>
            <pc:docMk/>
            <pc:sldMasterMk cId="2961596853" sldId="2147483660"/>
            <pc:sldLayoutMk cId="1154143784" sldId="2147484935"/>
          </pc:sldLayoutMkLst>
        </pc:sldLayoutChg>
      </pc:sldMasterChg>
      <pc:sldMasterChg chg="setBg modSldLayout">
        <pc:chgData name="John Deardurff" userId="a22eae058e899168" providerId="LiveId" clId="{725BA76B-26D7-49BC-9982-98E544B806D5}" dt="2022-01-29T14:54:11.633" v="707"/>
        <pc:sldMasterMkLst>
          <pc:docMk/>
          <pc:sldMasterMk cId="1314547036" sldId="2147484881"/>
        </pc:sldMasterMkLst>
        <pc:sldLayoutChg chg="setBg">
          <pc:chgData name="John Deardurff" userId="a22eae058e899168" providerId="LiveId" clId="{725BA76B-26D7-49BC-9982-98E544B806D5}" dt="2022-01-29T14:54:11.633" v="707"/>
          <pc:sldLayoutMkLst>
            <pc:docMk/>
            <pc:sldMasterMk cId="1314547036" sldId="2147484881"/>
            <pc:sldLayoutMk cId="6038547" sldId="2147484882"/>
          </pc:sldLayoutMkLst>
        </pc:sldLayoutChg>
        <pc:sldLayoutChg chg="setBg">
          <pc:chgData name="John Deardurff" userId="a22eae058e899168" providerId="LiveId" clId="{725BA76B-26D7-49BC-9982-98E544B806D5}" dt="2022-01-29T14:54:11.633" v="707"/>
          <pc:sldLayoutMkLst>
            <pc:docMk/>
            <pc:sldMasterMk cId="1314547036" sldId="2147484881"/>
            <pc:sldLayoutMk cId="1928696735" sldId="2147484883"/>
          </pc:sldLayoutMkLst>
        </pc:sldLayoutChg>
        <pc:sldLayoutChg chg="setBg">
          <pc:chgData name="John Deardurff" userId="a22eae058e899168" providerId="LiveId" clId="{725BA76B-26D7-49BC-9982-98E544B806D5}" dt="2022-01-29T14:54:11.633" v="707"/>
          <pc:sldLayoutMkLst>
            <pc:docMk/>
            <pc:sldMasterMk cId="1314547036" sldId="2147484881"/>
            <pc:sldLayoutMk cId="3100254026" sldId="2147484884"/>
          </pc:sldLayoutMkLst>
        </pc:sldLayoutChg>
        <pc:sldLayoutChg chg="setBg">
          <pc:chgData name="John Deardurff" userId="a22eae058e899168" providerId="LiveId" clId="{725BA76B-26D7-49BC-9982-98E544B806D5}" dt="2022-01-29T14:54:11.633" v="707"/>
          <pc:sldLayoutMkLst>
            <pc:docMk/>
            <pc:sldMasterMk cId="1314547036" sldId="2147484881"/>
            <pc:sldLayoutMk cId="3200305231" sldId="2147484885"/>
          </pc:sldLayoutMkLst>
        </pc:sldLayoutChg>
        <pc:sldLayoutChg chg="setBg">
          <pc:chgData name="John Deardurff" userId="a22eae058e899168" providerId="LiveId" clId="{725BA76B-26D7-49BC-9982-98E544B806D5}" dt="2022-01-29T14:54:11.633" v="707"/>
          <pc:sldLayoutMkLst>
            <pc:docMk/>
            <pc:sldMasterMk cId="1314547036" sldId="2147484881"/>
            <pc:sldLayoutMk cId="2962734084" sldId="2147484886"/>
          </pc:sldLayoutMkLst>
        </pc:sldLayoutChg>
        <pc:sldLayoutChg chg="setBg">
          <pc:chgData name="John Deardurff" userId="a22eae058e899168" providerId="LiveId" clId="{725BA76B-26D7-49BC-9982-98E544B806D5}" dt="2022-01-29T14:54:11.633" v="707"/>
          <pc:sldLayoutMkLst>
            <pc:docMk/>
            <pc:sldMasterMk cId="1314547036" sldId="2147484881"/>
            <pc:sldLayoutMk cId="2385152944" sldId="2147484887"/>
          </pc:sldLayoutMkLst>
        </pc:sldLayoutChg>
        <pc:sldLayoutChg chg="setBg">
          <pc:chgData name="John Deardurff" userId="a22eae058e899168" providerId="LiveId" clId="{725BA76B-26D7-49BC-9982-98E544B806D5}" dt="2022-01-29T14:54:11.633" v="707"/>
          <pc:sldLayoutMkLst>
            <pc:docMk/>
            <pc:sldMasterMk cId="1314547036" sldId="2147484881"/>
            <pc:sldLayoutMk cId="3117901790" sldId="2147484888"/>
          </pc:sldLayoutMkLst>
        </pc:sldLayoutChg>
        <pc:sldLayoutChg chg="setBg">
          <pc:chgData name="John Deardurff" userId="a22eae058e899168" providerId="LiveId" clId="{725BA76B-26D7-49BC-9982-98E544B806D5}" dt="2022-01-29T14:54:11.633" v="707"/>
          <pc:sldLayoutMkLst>
            <pc:docMk/>
            <pc:sldMasterMk cId="1314547036" sldId="2147484881"/>
            <pc:sldLayoutMk cId="2047864445" sldId="2147484889"/>
          </pc:sldLayoutMkLst>
        </pc:sldLayoutChg>
        <pc:sldLayoutChg chg="setBg">
          <pc:chgData name="John Deardurff" userId="a22eae058e899168" providerId="LiveId" clId="{725BA76B-26D7-49BC-9982-98E544B806D5}" dt="2022-01-29T14:54:11.633" v="707"/>
          <pc:sldLayoutMkLst>
            <pc:docMk/>
            <pc:sldMasterMk cId="1314547036" sldId="2147484881"/>
            <pc:sldLayoutMk cId="4243211197" sldId="2147484890"/>
          </pc:sldLayoutMkLst>
        </pc:sldLayoutChg>
        <pc:sldLayoutChg chg="setBg">
          <pc:chgData name="John Deardurff" userId="a22eae058e899168" providerId="LiveId" clId="{725BA76B-26D7-49BC-9982-98E544B806D5}" dt="2022-01-29T14:54:11.633" v="707"/>
          <pc:sldLayoutMkLst>
            <pc:docMk/>
            <pc:sldMasterMk cId="1314547036" sldId="2147484881"/>
            <pc:sldLayoutMk cId="489368025" sldId="2147484891"/>
          </pc:sldLayoutMkLst>
        </pc:sldLayoutChg>
        <pc:sldLayoutChg chg="setBg">
          <pc:chgData name="John Deardurff" userId="a22eae058e899168" providerId="LiveId" clId="{725BA76B-26D7-49BC-9982-98E544B806D5}" dt="2022-01-29T14:54:11.633" v="707"/>
          <pc:sldLayoutMkLst>
            <pc:docMk/>
            <pc:sldMasterMk cId="1314547036" sldId="2147484881"/>
            <pc:sldLayoutMk cId="1801268577" sldId="2147484892"/>
          </pc:sldLayoutMkLst>
        </pc:sldLayoutChg>
        <pc:sldLayoutChg chg="setBg">
          <pc:chgData name="John Deardurff" userId="a22eae058e899168" providerId="LiveId" clId="{725BA76B-26D7-49BC-9982-98E544B806D5}" dt="2022-01-29T14:54:11.633" v="707"/>
          <pc:sldLayoutMkLst>
            <pc:docMk/>
            <pc:sldMasterMk cId="1314547036" sldId="2147484881"/>
            <pc:sldLayoutMk cId="2177301040" sldId="2147484893"/>
          </pc:sldLayoutMkLst>
        </pc:sldLayoutChg>
        <pc:sldLayoutChg chg="setBg">
          <pc:chgData name="John Deardurff" userId="a22eae058e899168" providerId="LiveId" clId="{725BA76B-26D7-49BC-9982-98E544B806D5}" dt="2022-01-29T14:54:11.633" v="707"/>
          <pc:sldLayoutMkLst>
            <pc:docMk/>
            <pc:sldMasterMk cId="1314547036" sldId="2147484881"/>
            <pc:sldLayoutMk cId="2988818003" sldId="2147484894"/>
          </pc:sldLayoutMkLst>
        </pc:sldLayoutChg>
        <pc:sldLayoutChg chg="setBg">
          <pc:chgData name="John Deardurff" userId="a22eae058e899168" providerId="LiveId" clId="{725BA76B-26D7-49BC-9982-98E544B806D5}" dt="2022-01-29T14:54:11.633" v="707"/>
          <pc:sldLayoutMkLst>
            <pc:docMk/>
            <pc:sldMasterMk cId="1314547036" sldId="2147484881"/>
            <pc:sldLayoutMk cId="1749779080" sldId="2147484895"/>
          </pc:sldLayoutMkLst>
        </pc:sldLayoutChg>
        <pc:sldLayoutChg chg="setBg">
          <pc:chgData name="John Deardurff" userId="a22eae058e899168" providerId="LiveId" clId="{725BA76B-26D7-49BC-9982-98E544B806D5}" dt="2022-01-29T14:54:11.633" v="707"/>
          <pc:sldLayoutMkLst>
            <pc:docMk/>
            <pc:sldMasterMk cId="1314547036" sldId="2147484881"/>
            <pc:sldLayoutMk cId="3437667945" sldId="2147484896"/>
          </pc:sldLayoutMkLst>
        </pc:sldLayoutChg>
        <pc:sldLayoutChg chg="setBg">
          <pc:chgData name="John Deardurff" userId="a22eae058e899168" providerId="LiveId" clId="{725BA76B-26D7-49BC-9982-98E544B806D5}" dt="2022-01-29T14:54:11.633" v="707"/>
          <pc:sldLayoutMkLst>
            <pc:docMk/>
            <pc:sldMasterMk cId="1314547036" sldId="2147484881"/>
            <pc:sldLayoutMk cId="2696817537" sldId="2147484897"/>
          </pc:sldLayoutMkLst>
        </pc:sldLayoutChg>
        <pc:sldLayoutChg chg="setBg">
          <pc:chgData name="John Deardurff" userId="a22eae058e899168" providerId="LiveId" clId="{725BA76B-26D7-49BC-9982-98E544B806D5}" dt="2022-01-29T14:54:11.633" v="707"/>
          <pc:sldLayoutMkLst>
            <pc:docMk/>
            <pc:sldMasterMk cId="1314547036" sldId="2147484881"/>
            <pc:sldLayoutMk cId="3046833693" sldId="2147484898"/>
          </pc:sldLayoutMkLst>
        </pc:sldLayoutChg>
        <pc:sldLayoutChg chg="setBg">
          <pc:chgData name="John Deardurff" userId="a22eae058e899168" providerId="LiveId" clId="{725BA76B-26D7-49BC-9982-98E544B806D5}" dt="2022-01-29T14:54:11.633" v="707"/>
          <pc:sldLayoutMkLst>
            <pc:docMk/>
            <pc:sldMasterMk cId="1314547036" sldId="2147484881"/>
            <pc:sldLayoutMk cId="1194900020" sldId="2147484899"/>
          </pc:sldLayoutMkLst>
        </pc:sldLayoutChg>
        <pc:sldLayoutChg chg="setBg">
          <pc:chgData name="John Deardurff" userId="a22eae058e899168" providerId="LiveId" clId="{725BA76B-26D7-49BC-9982-98E544B806D5}" dt="2022-01-29T14:54:11.633" v="707"/>
          <pc:sldLayoutMkLst>
            <pc:docMk/>
            <pc:sldMasterMk cId="1314547036" sldId="2147484881"/>
            <pc:sldLayoutMk cId="2507673928" sldId="2147484900"/>
          </pc:sldLayoutMkLst>
        </pc:sldLayoutChg>
        <pc:sldLayoutChg chg="setBg">
          <pc:chgData name="John Deardurff" userId="a22eae058e899168" providerId="LiveId" clId="{725BA76B-26D7-49BC-9982-98E544B806D5}" dt="2022-01-29T14:54:11.633" v="707"/>
          <pc:sldLayoutMkLst>
            <pc:docMk/>
            <pc:sldMasterMk cId="1314547036" sldId="2147484881"/>
            <pc:sldLayoutMk cId="1257509516" sldId="2147484901"/>
          </pc:sldLayoutMkLst>
        </pc:sldLayoutChg>
        <pc:sldLayoutChg chg="setBg">
          <pc:chgData name="John Deardurff" userId="a22eae058e899168" providerId="LiveId" clId="{725BA76B-26D7-49BC-9982-98E544B806D5}" dt="2022-01-29T14:54:11.633" v="707"/>
          <pc:sldLayoutMkLst>
            <pc:docMk/>
            <pc:sldMasterMk cId="1314547036" sldId="2147484881"/>
            <pc:sldLayoutMk cId="4027055419" sldId="2147484902"/>
          </pc:sldLayoutMkLst>
        </pc:sldLayoutChg>
        <pc:sldLayoutChg chg="setBg">
          <pc:chgData name="John Deardurff" userId="a22eae058e899168" providerId="LiveId" clId="{725BA76B-26D7-49BC-9982-98E544B806D5}" dt="2022-01-29T14:54:11.633" v="707"/>
          <pc:sldLayoutMkLst>
            <pc:docMk/>
            <pc:sldMasterMk cId="1314547036" sldId="2147484881"/>
            <pc:sldLayoutMk cId="2731368259" sldId="2147484903"/>
          </pc:sldLayoutMkLst>
        </pc:sldLayoutChg>
        <pc:sldLayoutChg chg="setBg">
          <pc:chgData name="John Deardurff" userId="a22eae058e899168" providerId="LiveId" clId="{725BA76B-26D7-49BC-9982-98E544B806D5}" dt="2022-01-29T14:54:11.633" v="707"/>
          <pc:sldLayoutMkLst>
            <pc:docMk/>
            <pc:sldMasterMk cId="1314547036" sldId="2147484881"/>
            <pc:sldLayoutMk cId="2836034493" sldId="2147484904"/>
          </pc:sldLayoutMkLst>
        </pc:sldLayoutChg>
        <pc:sldLayoutChg chg="setBg">
          <pc:chgData name="John Deardurff" userId="a22eae058e899168" providerId="LiveId" clId="{725BA76B-26D7-49BC-9982-98E544B806D5}" dt="2022-01-29T14:54:11.633" v="707"/>
          <pc:sldLayoutMkLst>
            <pc:docMk/>
            <pc:sldMasterMk cId="1314547036" sldId="2147484881"/>
            <pc:sldLayoutMk cId="350346173" sldId="2147484905"/>
          </pc:sldLayoutMkLst>
        </pc:sldLayoutChg>
        <pc:sldLayoutChg chg="setBg">
          <pc:chgData name="John Deardurff" userId="a22eae058e899168" providerId="LiveId" clId="{725BA76B-26D7-49BC-9982-98E544B806D5}" dt="2022-01-29T14:54:11.633" v="707"/>
          <pc:sldLayoutMkLst>
            <pc:docMk/>
            <pc:sldMasterMk cId="1314547036" sldId="2147484881"/>
            <pc:sldLayoutMk cId="1037537020" sldId="2147484906"/>
          </pc:sldLayoutMkLst>
        </pc:sldLayoutChg>
        <pc:sldLayoutChg chg="setBg">
          <pc:chgData name="John Deardurff" userId="a22eae058e899168" providerId="LiveId" clId="{725BA76B-26D7-49BC-9982-98E544B806D5}" dt="2022-01-29T14:54:11.633" v="707"/>
          <pc:sldLayoutMkLst>
            <pc:docMk/>
            <pc:sldMasterMk cId="1314547036" sldId="2147484881"/>
            <pc:sldLayoutMk cId="854302330" sldId="2147484907"/>
          </pc:sldLayoutMkLst>
        </pc:sldLayoutChg>
        <pc:sldLayoutChg chg="setBg">
          <pc:chgData name="John Deardurff" userId="a22eae058e899168" providerId="LiveId" clId="{725BA76B-26D7-49BC-9982-98E544B806D5}" dt="2022-01-29T14:54:11.633" v="707"/>
          <pc:sldLayoutMkLst>
            <pc:docMk/>
            <pc:sldMasterMk cId="1314547036" sldId="2147484881"/>
            <pc:sldLayoutMk cId="871016607" sldId="2147484908"/>
          </pc:sldLayoutMkLst>
        </pc:sldLayoutChg>
        <pc:sldLayoutChg chg="setBg">
          <pc:chgData name="John Deardurff" userId="a22eae058e899168" providerId="LiveId" clId="{725BA76B-26D7-49BC-9982-98E544B806D5}" dt="2022-01-29T14:54:11.633" v="707"/>
          <pc:sldLayoutMkLst>
            <pc:docMk/>
            <pc:sldMasterMk cId="1314547036" sldId="2147484881"/>
            <pc:sldLayoutMk cId="1032270054" sldId="2147484909"/>
          </pc:sldLayoutMkLst>
        </pc:sldLayoutChg>
        <pc:sldLayoutChg chg="setBg">
          <pc:chgData name="John Deardurff" userId="a22eae058e899168" providerId="LiveId" clId="{725BA76B-26D7-49BC-9982-98E544B806D5}" dt="2022-01-29T14:54:11.633" v="707"/>
          <pc:sldLayoutMkLst>
            <pc:docMk/>
            <pc:sldMasterMk cId="1314547036" sldId="2147484881"/>
            <pc:sldLayoutMk cId="3901353528" sldId="2147484910"/>
          </pc:sldLayoutMkLst>
        </pc:sldLayoutChg>
        <pc:sldLayoutChg chg="setBg">
          <pc:chgData name="John Deardurff" userId="a22eae058e899168" providerId="LiveId" clId="{725BA76B-26D7-49BC-9982-98E544B806D5}" dt="2022-01-29T14:54:11.633" v="707"/>
          <pc:sldLayoutMkLst>
            <pc:docMk/>
            <pc:sldMasterMk cId="1314547036" sldId="2147484881"/>
            <pc:sldLayoutMk cId="879552426" sldId="2147484911"/>
          </pc:sldLayoutMkLst>
        </pc:sldLayoutChg>
        <pc:sldLayoutChg chg="setBg">
          <pc:chgData name="John Deardurff" userId="a22eae058e899168" providerId="LiveId" clId="{725BA76B-26D7-49BC-9982-98E544B806D5}" dt="2022-01-29T14:54:11.633" v="707"/>
          <pc:sldLayoutMkLst>
            <pc:docMk/>
            <pc:sldMasterMk cId="1314547036" sldId="2147484881"/>
            <pc:sldLayoutMk cId="3122402188" sldId="2147484912"/>
          </pc:sldLayoutMkLst>
        </pc:sldLayoutChg>
        <pc:sldLayoutChg chg="setBg">
          <pc:chgData name="John Deardurff" userId="a22eae058e899168" providerId="LiveId" clId="{725BA76B-26D7-49BC-9982-98E544B806D5}" dt="2022-01-29T14:54:11.633" v="707"/>
          <pc:sldLayoutMkLst>
            <pc:docMk/>
            <pc:sldMasterMk cId="1314547036" sldId="2147484881"/>
            <pc:sldLayoutMk cId="515192483" sldId="2147484913"/>
          </pc:sldLayoutMkLst>
        </pc:sldLayoutChg>
        <pc:sldLayoutChg chg="setBg">
          <pc:chgData name="John Deardurff" userId="a22eae058e899168" providerId="LiveId" clId="{725BA76B-26D7-49BC-9982-98E544B806D5}" dt="2022-01-29T14:54:11.633" v="707"/>
          <pc:sldLayoutMkLst>
            <pc:docMk/>
            <pc:sldMasterMk cId="1314547036" sldId="2147484881"/>
            <pc:sldLayoutMk cId="329224743" sldId="2147484914"/>
          </pc:sldLayoutMkLst>
        </pc:sldLayoutChg>
        <pc:sldLayoutChg chg="setBg">
          <pc:chgData name="John Deardurff" userId="a22eae058e899168" providerId="LiveId" clId="{725BA76B-26D7-49BC-9982-98E544B806D5}" dt="2022-01-29T14:54:11.633" v="707"/>
          <pc:sldLayoutMkLst>
            <pc:docMk/>
            <pc:sldMasterMk cId="1314547036" sldId="2147484881"/>
            <pc:sldLayoutMk cId="2568904085" sldId="2147484915"/>
          </pc:sldLayoutMkLst>
        </pc:sldLayoutChg>
        <pc:sldLayoutChg chg="setBg">
          <pc:chgData name="John Deardurff" userId="a22eae058e899168" providerId="LiveId" clId="{725BA76B-26D7-49BC-9982-98E544B806D5}" dt="2022-01-29T14:54:11.633" v="707"/>
          <pc:sldLayoutMkLst>
            <pc:docMk/>
            <pc:sldMasterMk cId="1314547036" sldId="2147484881"/>
            <pc:sldLayoutMk cId="1406792524" sldId="2147484916"/>
          </pc:sldLayoutMkLst>
        </pc:sldLayoutChg>
        <pc:sldLayoutChg chg="setBg">
          <pc:chgData name="John Deardurff" userId="a22eae058e899168" providerId="LiveId" clId="{725BA76B-26D7-49BC-9982-98E544B806D5}" dt="2022-01-29T14:54:11.633" v="707"/>
          <pc:sldLayoutMkLst>
            <pc:docMk/>
            <pc:sldMasterMk cId="1314547036" sldId="2147484881"/>
            <pc:sldLayoutMk cId="1788457998" sldId="2147484917"/>
          </pc:sldLayoutMkLst>
        </pc:sldLayoutChg>
        <pc:sldLayoutChg chg="setBg">
          <pc:chgData name="John Deardurff" userId="a22eae058e899168" providerId="LiveId" clId="{725BA76B-26D7-49BC-9982-98E544B806D5}" dt="2022-01-29T14:54:11.633" v="707"/>
          <pc:sldLayoutMkLst>
            <pc:docMk/>
            <pc:sldMasterMk cId="1314547036" sldId="2147484881"/>
            <pc:sldLayoutMk cId="829772877" sldId="2147484918"/>
          </pc:sldLayoutMkLst>
        </pc:sldLayoutChg>
        <pc:sldLayoutChg chg="setBg">
          <pc:chgData name="John Deardurff" userId="a22eae058e899168" providerId="LiveId" clId="{725BA76B-26D7-49BC-9982-98E544B806D5}" dt="2022-01-29T14:54:11.633" v="707"/>
          <pc:sldLayoutMkLst>
            <pc:docMk/>
            <pc:sldMasterMk cId="1314547036" sldId="2147484881"/>
            <pc:sldLayoutMk cId="2680467376" sldId="2147484919"/>
          </pc:sldLayoutMkLst>
        </pc:sldLayoutChg>
        <pc:sldLayoutChg chg="setBg">
          <pc:chgData name="John Deardurff" userId="a22eae058e899168" providerId="LiveId" clId="{725BA76B-26D7-49BC-9982-98E544B806D5}" dt="2022-01-29T14:54:11.633" v="707"/>
          <pc:sldLayoutMkLst>
            <pc:docMk/>
            <pc:sldMasterMk cId="1314547036" sldId="2147484881"/>
            <pc:sldLayoutMk cId="2298161889" sldId="2147484920"/>
          </pc:sldLayoutMkLst>
        </pc:sldLayoutChg>
        <pc:sldLayoutChg chg="setBg">
          <pc:chgData name="John Deardurff" userId="a22eae058e899168" providerId="LiveId" clId="{725BA76B-26D7-49BC-9982-98E544B806D5}" dt="2022-01-29T14:54:11.633" v="707"/>
          <pc:sldLayoutMkLst>
            <pc:docMk/>
            <pc:sldMasterMk cId="1314547036" sldId="2147484881"/>
            <pc:sldLayoutMk cId="461105440" sldId="2147484921"/>
          </pc:sldLayoutMkLst>
        </pc:sldLayoutChg>
        <pc:sldLayoutChg chg="setBg">
          <pc:chgData name="John Deardurff" userId="a22eae058e899168" providerId="LiveId" clId="{725BA76B-26D7-49BC-9982-98E544B806D5}" dt="2022-01-29T14:54:11.633" v="707"/>
          <pc:sldLayoutMkLst>
            <pc:docMk/>
            <pc:sldMasterMk cId="1314547036" sldId="2147484881"/>
            <pc:sldLayoutMk cId="2278703323" sldId="2147484922"/>
          </pc:sldLayoutMkLst>
        </pc:sldLayoutChg>
        <pc:sldLayoutChg chg="setBg">
          <pc:chgData name="John Deardurff" userId="a22eae058e899168" providerId="LiveId" clId="{725BA76B-26D7-49BC-9982-98E544B806D5}" dt="2022-01-29T14:54:11.633" v="707"/>
          <pc:sldLayoutMkLst>
            <pc:docMk/>
            <pc:sldMasterMk cId="1314547036" sldId="2147484881"/>
            <pc:sldLayoutMk cId="294618402" sldId="2147484923"/>
          </pc:sldLayoutMkLst>
        </pc:sldLayoutChg>
        <pc:sldLayoutChg chg="setBg">
          <pc:chgData name="John Deardurff" userId="a22eae058e899168" providerId="LiveId" clId="{725BA76B-26D7-49BC-9982-98E544B806D5}" dt="2022-01-29T14:54:11.633" v="707"/>
          <pc:sldLayoutMkLst>
            <pc:docMk/>
            <pc:sldMasterMk cId="1314547036" sldId="2147484881"/>
            <pc:sldLayoutMk cId="3880605437" sldId="2147484924"/>
          </pc:sldLayoutMkLst>
        </pc:sldLayoutChg>
        <pc:sldLayoutChg chg="setBg">
          <pc:chgData name="John Deardurff" userId="a22eae058e899168" providerId="LiveId" clId="{725BA76B-26D7-49BC-9982-98E544B806D5}" dt="2022-01-29T14:54:11.633" v="707"/>
          <pc:sldLayoutMkLst>
            <pc:docMk/>
            <pc:sldMasterMk cId="1314547036" sldId="2147484881"/>
            <pc:sldLayoutMk cId="594947207" sldId="2147484925"/>
          </pc:sldLayoutMkLst>
        </pc:sldLayoutChg>
        <pc:sldLayoutChg chg="setBg">
          <pc:chgData name="John Deardurff" userId="a22eae058e899168" providerId="LiveId" clId="{725BA76B-26D7-49BC-9982-98E544B806D5}" dt="2022-01-29T14:54:11.633" v="707"/>
          <pc:sldLayoutMkLst>
            <pc:docMk/>
            <pc:sldMasterMk cId="1314547036" sldId="2147484881"/>
            <pc:sldLayoutMk cId="688573582" sldId="2147484926"/>
          </pc:sldLayoutMkLst>
        </pc:sldLayoutChg>
        <pc:sldLayoutChg chg="setBg">
          <pc:chgData name="John Deardurff" userId="a22eae058e899168" providerId="LiveId" clId="{725BA76B-26D7-49BC-9982-98E544B806D5}" dt="2022-01-29T14:54:11.633" v="707"/>
          <pc:sldLayoutMkLst>
            <pc:docMk/>
            <pc:sldMasterMk cId="1314547036" sldId="2147484881"/>
            <pc:sldLayoutMk cId="2039162605" sldId="2147484927"/>
          </pc:sldLayoutMkLst>
        </pc:sldLayoutChg>
        <pc:sldLayoutChg chg="setBg">
          <pc:chgData name="John Deardurff" userId="a22eae058e899168" providerId="LiveId" clId="{725BA76B-26D7-49BC-9982-98E544B806D5}" dt="2022-01-29T14:54:11.633" v="707"/>
          <pc:sldLayoutMkLst>
            <pc:docMk/>
            <pc:sldMasterMk cId="1314547036" sldId="2147484881"/>
            <pc:sldLayoutMk cId="380994899" sldId="2147484928"/>
          </pc:sldLayoutMkLst>
        </pc:sldLayoutChg>
        <pc:sldLayoutChg chg="setBg">
          <pc:chgData name="John Deardurff" userId="a22eae058e899168" providerId="LiveId" clId="{725BA76B-26D7-49BC-9982-98E544B806D5}" dt="2022-01-29T14:54:11.633" v="707"/>
          <pc:sldLayoutMkLst>
            <pc:docMk/>
            <pc:sldMasterMk cId="1314547036" sldId="2147484881"/>
            <pc:sldLayoutMk cId="2218050409" sldId="2147484929"/>
          </pc:sldLayoutMkLst>
        </pc:sldLayoutChg>
        <pc:sldLayoutChg chg="setBg">
          <pc:chgData name="John Deardurff" userId="a22eae058e899168" providerId="LiveId" clId="{725BA76B-26D7-49BC-9982-98E544B806D5}" dt="2022-01-29T14:54:11.633" v="707"/>
          <pc:sldLayoutMkLst>
            <pc:docMk/>
            <pc:sldMasterMk cId="1314547036" sldId="2147484881"/>
            <pc:sldLayoutMk cId="2651382338" sldId="2147484930"/>
          </pc:sldLayoutMkLst>
        </pc:sldLayoutChg>
      </pc:sldMasterChg>
      <pc:sldMasterChg chg="setBg modSldLayout">
        <pc:chgData name="John Deardurff" userId="a22eae058e899168" providerId="LiveId" clId="{725BA76B-26D7-49BC-9982-98E544B806D5}" dt="2022-01-29T14:54:11.633" v="707"/>
        <pc:sldMasterMkLst>
          <pc:docMk/>
          <pc:sldMasterMk cId="311518802" sldId="2147484936"/>
        </pc:sldMasterMkLst>
        <pc:sldLayoutChg chg="setBg">
          <pc:chgData name="John Deardurff" userId="a22eae058e899168" providerId="LiveId" clId="{725BA76B-26D7-49BC-9982-98E544B806D5}" dt="2022-01-29T14:54:11.633" v="707"/>
          <pc:sldLayoutMkLst>
            <pc:docMk/>
            <pc:sldMasterMk cId="311518802" sldId="2147484936"/>
            <pc:sldLayoutMk cId="4096419697" sldId="2147484937"/>
          </pc:sldLayoutMkLst>
        </pc:sldLayoutChg>
        <pc:sldLayoutChg chg="setBg">
          <pc:chgData name="John Deardurff" userId="a22eae058e899168" providerId="LiveId" clId="{725BA76B-26D7-49BC-9982-98E544B806D5}" dt="2022-01-29T14:54:11.633" v="707"/>
          <pc:sldLayoutMkLst>
            <pc:docMk/>
            <pc:sldMasterMk cId="311518802" sldId="2147484936"/>
            <pc:sldLayoutMk cId="372310734" sldId="2147484938"/>
          </pc:sldLayoutMkLst>
        </pc:sldLayoutChg>
        <pc:sldLayoutChg chg="setBg">
          <pc:chgData name="John Deardurff" userId="a22eae058e899168" providerId="LiveId" clId="{725BA76B-26D7-49BC-9982-98E544B806D5}" dt="2022-01-29T14:54:11.633" v="707"/>
          <pc:sldLayoutMkLst>
            <pc:docMk/>
            <pc:sldMasterMk cId="311518802" sldId="2147484936"/>
            <pc:sldLayoutMk cId="1717370280" sldId="2147484939"/>
          </pc:sldLayoutMkLst>
        </pc:sldLayoutChg>
        <pc:sldLayoutChg chg="setBg">
          <pc:chgData name="John Deardurff" userId="a22eae058e899168" providerId="LiveId" clId="{725BA76B-26D7-49BC-9982-98E544B806D5}" dt="2022-01-29T14:54:11.633" v="707"/>
          <pc:sldLayoutMkLst>
            <pc:docMk/>
            <pc:sldMasterMk cId="311518802" sldId="2147484936"/>
            <pc:sldLayoutMk cId="1557713383" sldId="2147484940"/>
          </pc:sldLayoutMkLst>
        </pc:sldLayoutChg>
        <pc:sldLayoutChg chg="setBg">
          <pc:chgData name="John Deardurff" userId="a22eae058e899168" providerId="LiveId" clId="{725BA76B-26D7-49BC-9982-98E544B806D5}" dt="2022-01-29T14:54:11.633" v="707"/>
          <pc:sldLayoutMkLst>
            <pc:docMk/>
            <pc:sldMasterMk cId="311518802" sldId="2147484936"/>
            <pc:sldLayoutMk cId="1601626441" sldId="2147484941"/>
          </pc:sldLayoutMkLst>
        </pc:sldLayoutChg>
        <pc:sldLayoutChg chg="setBg">
          <pc:chgData name="John Deardurff" userId="a22eae058e899168" providerId="LiveId" clId="{725BA76B-26D7-49BC-9982-98E544B806D5}" dt="2022-01-29T14:54:11.633" v="707"/>
          <pc:sldLayoutMkLst>
            <pc:docMk/>
            <pc:sldMasterMk cId="311518802" sldId="2147484936"/>
            <pc:sldLayoutMk cId="1301124877" sldId="2147484942"/>
          </pc:sldLayoutMkLst>
        </pc:sldLayoutChg>
        <pc:sldLayoutChg chg="setBg">
          <pc:chgData name="John Deardurff" userId="a22eae058e899168" providerId="LiveId" clId="{725BA76B-26D7-49BC-9982-98E544B806D5}" dt="2022-01-29T14:54:11.633" v="707"/>
          <pc:sldLayoutMkLst>
            <pc:docMk/>
            <pc:sldMasterMk cId="311518802" sldId="2147484936"/>
            <pc:sldLayoutMk cId="1182772597" sldId="2147484943"/>
          </pc:sldLayoutMkLst>
        </pc:sldLayoutChg>
        <pc:sldLayoutChg chg="setBg">
          <pc:chgData name="John Deardurff" userId="a22eae058e899168" providerId="LiveId" clId="{725BA76B-26D7-49BC-9982-98E544B806D5}" dt="2022-01-29T14:54:11.633" v="707"/>
          <pc:sldLayoutMkLst>
            <pc:docMk/>
            <pc:sldMasterMk cId="311518802" sldId="2147484936"/>
            <pc:sldLayoutMk cId="4109814708" sldId="2147484944"/>
          </pc:sldLayoutMkLst>
        </pc:sldLayoutChg>
        <pc:sldLayoutChg chg="setBg">
          <pc:chgData name="John Deardurff" userId="a22eae058e899168" providerId="LiveId" clId="{725BA76B-26D7-49BC-9982-98E544B806D5}" dt="2022-01-29T14:54:11.633" v="707"/>
          <pc:sldLayoutMkLst>
            <pc:docMk/>
            <pc:sldMasterMk cId="311518802" sldId="2147484936"/>
            <pc:sldLayoutMk cId="1010673488" sldId="2147484945"/>
          </pc:sldLayoutMkLst>
        </pc:sldLayoutChg>
        <pc:sldLayoutChg chg="setBg">
          <pc:chgData name="John Deardurff" userId="a22eae058e899168" providerId="LiveId" clId="{725BA76B-26D7-49BC-9982-98E544B806D5}" dt="2022-01-29T14:54:11.633" v="707"/>
          <pc:sldLayoutMkLst>
            <pc:docMk/>
            <pc:sldMasterMk cId="311518802" sldId="2147484936"/>
            <pc:sldLayoutMk cId="1333904608" sldId="2147484946"/>
          </pc:sldLayoutMkLst>
        </pc:sldLayoutChg>
        <pc:sldLayoutChg chg="setBg">
          <pc:chgData name="John Deardurff" userId="a22eae058e899168" providerId="LiveId" clId="{725BA76B-26D7-49BC-9982-98E544B806D5}" dt="2022-01-29T14:54:11.633" v="707"/>
          <pc:sldLayoutMkLst>
            <pc:docMk/>
            <pc:sldMasterMk cId="311518802" sldId="2147484936"/>
            <pc:sldLayoutMk cId="3145994645" sldId="2147484947"/>
          </pc:sldLayoutMkLst>
        </pc:sldLayoutChg>
        <pc:sldLayoutChg chg="setBg">
          <pc:chgData name="John Deardurff" userId="a22eae058e899168" providerId="LiveId" clId="{725BA76B-26D7-49BC-9982-98E544B806D5}" dt="2022-01-29T14:54:11.633" v="707"/>
          <pc:sldLayoutMkLst>
            <pc:docMk/>
            <pc:sldMasterMk cId="311518802" sldId="2147484936"/>
            <pc:sldLayoutMk cId="3287254964" sldId="2147484948"/>
          </pc:sldLayoutMkLst>
        </pc:sldLayoutChg>
        <pc:sldLayoutChg chg="setBg">
          <pc:chgData name="John Deardurff" userId="a22eae058e899168" providerId="LiveId" clId="{725BA76B-26D7-49BC-9982-98E544B806D5}" dt="2022-01-29T14:54:11.633" v="707"/>
          <pc:sldLayoutMkLst>
            <pc:docMk/>
            <pc:sldMasterMk cId="311518802" sldId="2147484936"/>
            <pc:sldLayoutMk cId="785252307" sldId="2147484949"/>
          </pc:sldLayoutMkLst>
        </pc:sldLayoutChg>
        <pc:sldLayoutChg chg="setBg">
          <pc:chgData name="John Deardurff" userId="a22eae058e899168" providerId="LiveId" clId="{725BA76B-26D7-49BC-9982-98E544B806D5}" dt="2022-01-29T14:54:11.633" v="707"/>
          <pc:sldLayoutMkLst>
            <pc:docMk/>
            <pc:sldMasterMk cId="311518802" sldId="2147484936"/>
            <pc:sldLayoutMk cId="1408422347" sldId="2147484950"/>
          </pc:sldLayoutMkLst>
        </pc:sldLayoutChg>
        <pc:sldLayoutChg chg="setBg">
          <pc:chgData name="John Deardurff" userId="a22eae058e899168" providerId="LiveId" clId="{725BA76B-26D7-49BC-9982-98E544B806D5}" dt="2022-01-29T14:54:11.633" v="707"/>
          <pc:sldLayoutMkLst>
            <pc:docMk/>
            <pc:sldMasterMk cId="311518802" sldId="2147484936"/>
            <pc:sldLayoutMk cId="2648550370" sldId="2147484951"/>
          </pc:sldLayoutMkLst>
        </pc:sldLayoutChg>
        <pc:sldLayoutChg chg="setBg">
          <pc:chgData name="John Deardurff" userId="a22eae058e899168" providerId="LiveId" clId="{725BA76B-26D7-49BC-9982-98E544B806D5}" dt="2022-01-29T14:54:11.633" v="707"/>
          <pc:sldLayoutMkLst>
            <pc:docMk/>
            <pc:sldMasterMk cId="311518802" sldId="2147484936"/>
            <pc:sldLayoutMk cId="1400188003" sldId="2147484952"/>
          </pc:sldLayoutMkLst>
        </pc:sldLayoutChg>
        <pc:sldLayoutChg chg="setBg">
          <pc:chgData name="John Deardurff" userId="a22eae058e899168" providerId="LiveId" clId="{725BA76B-26D7-49BC-9982-98E544B806D5}" dt="2022-01-29T14:54:11.633" v="707"/>
          <pc:sldLayoutMkLst>
            <pc:docMk/>
            <pc:sldMasterMk cId="311518802" sldId="2147484936"/>
            <pc:sldLayoutMk cId="777213788" sldId="2147484953"/>
          </pc:sldLayoutMkLst>
        </pc:sldLayoutChg>
        <pc:sldLayoutChg chg="setBg">
          <pc:chgData name="John Deardurff" userId="a22eae058e899168" providerId="LiveId" clId="{725BA76B-26D7-49BC-9982-98E544B806D5}" dt="2022-01-29T14:54:11.633" v="707"/>
          <pc:sldLayoutMkLst>
            <pc:docMk/>
            <pc:sldMasterMk cId="311518802" sldId="2147484936"/>
            <pc:sldLayoutMk cId="364458465" sldId="2147484954"/>
          </pc:sldLayoutMkLst>
        </pc:sldLayoutChg>
        <pc:sldLayoutChg chg="setBg">
          <pc:chgData name="John Deardurff" userId="a22eae058e899168" providerId="LiveId" clId="{725BA76B-26D7-49BC-9982-98E544B806D5}" dt="2022-01-29T14:54:11.633" v="707"/>
          <pc:sldLayoutMkLst>
            <pc:docMk/>
            <pc:sldMasterMk cId="311518802" sldId="2147484936"/>
            <pc:sldLayoutMk cId="3352608247" sldId="2147484955"/>
          </pc:sldLayoutMkLst>
        </pc:sldLayoutChg>
        <pc:sldLayoutChg chg="setBg">
          <pc:chgData name="John Deardurff" userId="a22eae058e899168" providerId="LiveId" clId="{725BA76B-26D7-49BC-9982-98E544B806D5}" dt="2022-01-29T14:54:11.633" v="707"/>
          <pc:sldLayoutMkLst>
            <pc:docMk/>
            <pc:sldMasterMk cId="311518802" sldId="2147484936"/>
            <pc:sldLayoutMk cId="2467743451" sldId="2147484956"/>
          </pc:sldLayoutMkLst>
        </pc:sldLayoutChg>
        <pc:sldLayoutChg chg="setBg">
          <pc:chgData name="John Deardurff" userId="a22eae058e899168" providerId="LiveId" clId="{725BA76B-26D7-49BC-9982-98E544B806D5}" dt="2022-01-29T14:54:11.633" v="707"/>
          <pc:sldLayoutMkLst>
            <pc:docMk/>
            <pc:sldMasterMk cId="311518802" sldId="2147484936"/>
            <pc:sldLayoutMk cId="454232445" sldId="2147484957"/>
          </pc:sldLayoutMkLst>
        </pc:sldLayoutChg>
        <pc:sldLayoutChg chg="setBg">
          <pc:chgData name="John Deardurff" userId="a22eae058e899168" providerId="LiveId" clId="{725BA76B-26D7-49BC-9982-98E544B806D5}" dt="2022-01-29T14:54:11.633" v="707"/>
          <pc:sldLayoutMkLst>
            <pc:docMk/>
            <pc:sldMasterMk cId="311518802" sldId="2147484936"/>
            <pc:sldLayoutMk cId="3646064531" sldId="2147484958"/>
          </pc:sldLayoutMkLst>
        </pc:sldLayoutChg>
        <pc:sldLayoutChg chg="setBg">
          <pc:chgData name="John Deardurff" userId="a22eae058e899168" providerId="LiveId" clId="{725BA76B-26D7-49BC-9982-98E544B806D5}" dt="2022-01-29T14:54:11.633" v="707"/>
          <pc:sldLayoutMkLst>
            <pc:docMk/>
            <pc:sldMasterMk cId="311518802" sldId="2147484936"/>
            <pc:sldLayoutMk cId="133793668" sldId="2147484959"/>
          </pc:sldLayoutMkLst>
        </pc:sldLayoutChg>
        <pc:sldLayoutChg chg="setBg">
          <pc:chgData name="John Deardurff" userId="a22eae058e899168" providerId="LiveId" clId="{725BA76B-26D7-49BC-9982-98E544B806D5}" dt="2022-01-29T14:54:11.633" v="707"/>
          <pc:sldLayoutMkLst>
            <pc:docMk/>
            <pc:sldMasterMk cId="311518802" sldId="2147484936"/>
            <pc:sldLayoutMk cId="2383947781" sldId="2147484960"/>
          </pc:sldLayoutMkLst>
        </pc:sldLayoutChg>
        <pc:sldLayoutChg chg="setBg">
          <pc:chgData name="John Deardurff" userId="a22eae058e899168" providerId="LiveId" clId="{725BA76B-26D7-49BC-9982-98E544B806D5}" dt="2022-01-29T14:54:11.633" v="707"/>
          <pc:sldLayoutMkLst>
            <pc:docMk/>
            <pc:sldMasterMk cId="311518802" sldId="2147484936"/>
            <pc:sldLayoutMk cId="1319526472" sldId="2147484961"/>
          </pc:sldLayoutMkLst>
        </pc:sldLayoutChg>
        <pc:sldLayoutChg chg="setBg">
          <pc:chgData name="John Deardurff" userId="a22eae058e899168" providerId="LiveId" clId="{725BA76B-26D7-49BC-9982-98E544B806D5}" dt="2022-01-29T14:54:11.633" v="707"/>
          <pc:sldLayoutMkLst>
            <pc:docMk/>
            <pc:sldMasterMk cId="311518802" sldId="2147484936"/>
            <pc:sldLayoutMk cId="2532648246" sldId="2147484962"/>
          </pc:sldLayoutMkLst>
        </pc:sldLayoutChg>
        <pc:sldLayoutChg chg="setBg">
          <pc:chgData name="John Deardurff" userId="a22eae058e899168" providerId="LiveId" clId="{725BA76B-26D7-49BC-9982-98E544B806D5}" dt="2022-01-29T14:54:11.633" v="707"/>
          <pc:sldLayoutMkLst>
            <pc:docMk/>
            <pc:sldMasterMk cId="311518802" sldId="2147484936"/>
            <pc:sldLayoutMk cId="1553030907" sldId="2147484963"/>
          </pc:sldLayoutMkLst>
        </pc:sldLayoutChg>
        <pc:sldLayoutChg chg="setBg">
          <pc:chgData name="John Deardurff" userId="a22eae058e899168" providerId="LiveId" clId="{725BA76B-26D7-49BC-9982-98E544B806D5}" dt="2022-01-29T14:54:11.633" v="707"/>
          <pc:sldLayoutMkLst>
            <pc:docMk/>
            <pc:sldMasterMk cId="311518802" sldId="2147484936"/>
            <pc:sldLayoutMk cId="580497578" sldId="2147484964"/>
          </pc:sldLayoutMkLst>
        </pc:sldLayoutChg>
        <pc:sldLayoutChg chg="setBg">
          <pc:chgData name="John Deardurff" userId="a22eae058e899168" providerId="LiveId" clId="{725BA76B-26D7-49BC-9982-98E544B806D5}" dt="2022-01-29T14:54:11.633" v="707"/>
          <pc:sldLayoutMkLst>
            <pc:docMk/>
            <pc:sldMasterMk cId="311518802" sldId="2147484936"/>
            <pc:sldLayoutMk cId="506363977" sldId="2147484965"/>
          </pc:sldLayoutMkLst>
        </pc:sldLayoutChg>
        <pc:sldLayoutChg chg="setBg">
          <pc:chgData name="John Deardurff" userId="a22eae058e899168" providerId="LiveId" clId="{725BA76B-26D7-49BC-9982-98E544B806D5}" dt="2022-01-29T14:54:11.633" v="707"/>
          <pc:sldLayoutMkLst>
            <pc:docMk/>
            <pc:sldMasterMk cId="311518802" sldId="2147484936"/>
            <pc:sldLayoutMk cId="3067859945" sldId="2147484966"/>
          </pc:sldLayoutMkLst>
        </pc:sldLayoutChg>
        <pc:sldLayoutChg chg="setBg">
          <pc:chgData name="John Deardurff" userId="a22eae058e899168" providerId="LiveId" clId="{725BA76B-26D7-49BC-9982-98E544B806D5}" dt="2022-01-29T14:54:11.633" v="707"/>
          <pc:sldLayoutMkLst>
            <pc:docMk/>
            <pc:sldMasterMk cId="311518802" sldId="2147484936"/>
            <pc:sldLayoutMk cId="447821948" sldId="2147484967"/>
          </pc:sldLayoutMkLst>
        </pc:sldLayoutChg>
        <pc:sldLayoutChg chg="setBg">
          <pc:chgData name="John Deardurff" userId="a22eae058e899168" providerId="LiveId" clId="{725BA76B-26D7-49BC-9982-98E544B806D5}" dt="2022-01-29T14:54:11.633" v="707"/>
          <pc:sldLayoutMkLst>
            <pc:docMk/>
            <pc:sldMasterMk cId="311518802" sldId="2147484936"/>
            <pc:sldLayoutMk cId="3146805630" sldId="2147484968"/>
          </pc:sldLayoutMkLst>
        </pc:sldLayoutChg>
        <pc:sldLayoutChg chg="setBg">
          <pc:chgData name="John Deardurff" userId="a22eae058e899168" providerId="LiveId" clId="{725BA76B-26D7-49BC-9982-98E544B806D5}" dt="2022-01-29T14:54:11.633" v="707"/>
          <pc:sldLayoutMkLst>
            <pc:docMk/>
            <pc:sldMasterMk cId="311518802" sldId="2147484936"/>
            <pc:sldLayoutMk cId="1486936492" sldId="2147484969"/>
          </pc:sldLayoutMkLst>
        </pc:sldLayoutChg>
        <pc:sldLayoutChg chg="setBg">
          <pc:chgData name="John Deardurff" userId="a22eae058e899168" providerId="LiveId" clId="{725BA76B-26D7-49BC-9982-98E544B806D5}" dt="2022-01-29T14:54:11.633" v="707"/>
          <pc:sldLayoutMkLst>
            <pc:docMk/>
            <pc:sldMasterMk cId="311518802" sldId="2147484936"/>
            <pc:sldLayoutMk cId="513832450" sldId="2147484970"/>
          </pc:sldLayoutMkLst>
        </pc:sldLayoutChg>
        <pc:sldLayoutChg chg="setBg">
          <pc:chgData name="John Deardurff" userId="a22eae058e899168" providerId="LiveId" clId="{725BA76B-26D7-49BC-9982-98E544B806D5}" dt="2022-01-29T14:54:11.633" v="707"/>
          <pc:sldLayoutMkLst>
            <pc:docMk/>
            <pc:sldMasterMk cId="311518802" sldId="2147484936"/>
            <pc:sldLayoutMk cId="2550161568" sldId="2147484971"/>
          </pc:sldLayoutMkLst>
        </pc:sldLayoutChg>
        <pc:sldLayoutChg chg="setBg">
          <pc:chgData name="John Deardurff" userId="a22eae058e899168" providerId="LiveId" clId="{725BA76B-26D7-49BC-9982-98E544B806D5}" dt="2022-01-29T14:54:11.633" v="707"/>
          <pc:sldLayoutMkLst>
            <pc:docMk/>
            <pc:sldMasterMk cId="311518802" sldId="2147484936"/>
            <pc:sldLayoutMk cId="247805444" sldId="2147484972"/>
          </pc:sldLayoutMkLst>
        </pc:sldLayoutChg>
        <pc:sldLayoutChg chg="setBg">
          <pc:chgData name="John Deardurff" userId="a22eae058e899168" providerId="LiveId" clId="{725BA76B-26D7-49BC-9982-98E544B806D5}" dt="2022-01-29T14:54:11.633" v="707"/>
          <pc:sldLayoutMkLst>
            <pc:docMk/>
            <pc:sldMasterMk cId="311518802" sldId="2147484936"/>
            <pc:sldLayoutMk cId="1465999112" sldId="2147484973"/>
          </pc:sldLayoutMkLst>
        </pc:sldLayoutChg>
        <pc:sldLayoutChg chg="setBg">
          <pc:chgData name="John Deardurff" userId="a22eae058e899168" providerId="LiveId" clId="{725BA76B-26D7-49BC-9982-98E544B806D5}" dt="2022-01-29T14:54:11.633" v="707"/>
          <pc:sldLayoutMkLst>
            <pc:docMk/>
            <pc:sldMasterMk cId="311518802" sldId="2147484936"/>
            <pc:sldLayoutMk cId="1834431469" sldId="2147484974"/>
          </pc:sldLayoutMkLst>
        </pc:sldLayoutChg>
        <pc:sldLayoutChg chg="setBg">
          <pc:chgData name="John Deardurff" userId="a22eae058e899168" providerId="LiveId" clId="{725BA76B-26D7-49BC-9982-98E544B806D5}" dt="2022-01-29T14:54:11.633" v="707"/>
          <pc:sldLayoutMkLst>
            <pc:docMk/>
            <pc:sldMasterMk cId="311518802" sldId="2147484936"/>
            <pc:sldLayoutMk cId="3721543139" sldId="2147484975"/>
          </pc:sldLayoutMkLst>
        </pc:sldLayoutChg>
        <pc:sldLayoutChg chg="setBg">
          <pc:chgData name="John Deardurff" userId="a22eae058e899168" providerId="LiveId" clId="{725BA76B-26D7-49BC-9982-98E544B806D5}" dt="2022-01-29T14:54:11.633" v="707"/>
          <pc:sldLayoutMkLst>
            <pc:docMk/>
            <pc:sldMasterMk cId="311518802" sldId="2147484936"/>
            <pc:sldLayoutMk cId="2488358648" sldId="2147484976"/>
          </pc:sldLayoutMkLst>
        </pc:sldLayoutChg>
        <pc:sldLayoutChg chg="setBg">
          <pc:chgData name="John Deardurff" userId="a22eae058e899168" providerId="LiveId" clId="{725BA76B-26D7-49BC-9982-98E544B806D5}" dt="2022-01-29T14:54:11.633" v="707"/>
          <pc:sldLayoutMkLst>
            <pc:docMk/>
            <pc:sldMasterMk cId="311518802" sldId="2147484936"/>
            <pc:sldLayoutMk cId="3852881017" sldId="2147484977"/>
          </pc:sldLayoutMkLst>
        </pc:sldLayoutChg>
        <pc:sldLayoutChg chg="setBg">
          <pc:chgData name="John Deardurff" userId="a22eae058e899168" providerId="LiveId" clId="{725BA76B-26D7-49BC-9982-98E544B806D5}" dt="2022-01-29T14:54:11.633" v="707"/>
          <pc:sldLayoutMkLst>
            <pc:docMk/>
            <pc:sldMasterMk cId="311518802" sldId="2147484936"/>
            <pc:sldLayoutMk cId="872805744" sldId="2147484978"/>
          </pc:sldLayoutMkLst>
        </pc:sldLayoutChg>
        <pc:sldLayoutChg chg="setBg">
          <pc:chgData name="John Deardurff" userId="a22eae058e899168" providerId="LiveId" clId="{725BA76B-26D7-49BC-9982-98E544B806D5}" dt="2022-01-29T14:54:11.633" v="707"/>
          <pc:sldLayoutMkLst>
            <pc:docMk/>
            <pc:sldMasterMk cId="311518802" sldId="2147484936"/>
            <pc:sldLayoutMk cId="1435328031" sldId="2147484979"/>
          </pc:sldLayoutMkLst>
        </pc:sldLayoutChg>
        <pc:sldLayoutChg chg="setBg">
          <pc:chgData name="John Deardurff" userId="a22eae058e899168" providerId="LiveId" clId="{725BA76B-26D7-49BC-9982-98E544B806D5}" dt="2022-01-29T14:54:11.633" v="707"/>
          <pc:sldLayoutMkLst>
            <pc:docMk/>
            <pc:sldMasterMk cId="311518802" sldId="2147484936"/>
            <pc:sldLayoutMk cId="4174538690" sldId="2147484980"/>
          </pc:sldLayoutMkLst>
        </pc:sldLayoutChg>
      </pc:sldMasterChg>
    </pc:docChg>
  </pc:docChgLst>
</pc:chgInfo>
</file>

<file path=ppt/diagrams/_rels/data4.xml.rels><?xml version="1.0" encoding="UTF-8" standalone="yes"?>
<Relationships xmlns="http://schemas.openxmlformats.org/package/2006/relationships"><Relationship Id="rId3" Type="http://schemas.openxmlformats.org/officeDocument/2006/relationships/hyperlink" Target="https://docs.microsoft.com/en-us/sql/sql-assessment-api/sql-assessment-api-overview" TargetMode="External"/><Relationship Id="rId2" Type="http://schemas.openxmlformats.org/officeDocument/2006/relationships/hyperlink" Target="https://github.com/microsoft/sql-server-samples/blob/master/samples/manage/sql-assessment-api/DefaultRuleset.csv" TargetMode="External"/><Relationship Id="rId1" Type="http://schemas.openxmlformats.org/officeDocument/2006/relationships/hyperlink" Target="https://docs.microsoft.com/en-us/azure/azure-monitor/logs/quick-create-workspace" TargetMode="External"/><Relationship Id="rId4" Type="http://schemas.openxmlformats.org/officeDocument/2006/relationships/hyperlink" Target="https://docs.microsoft.com/en-us/azure/azure-sql/virtual-machines/windows/sql-agent-extension-manually-register-single-vm#full-mode" TargetMode="External"/></Relationships>
</file>

<file path=ppt/diagrams/_rels/drawing4.xml.rels><?xml version="1.0" encoding="UTF-8" standalone="yes"?>
<Relationships xmlns="http://schemas.openxmlformats.org/package/2006/relationships"><Relationship Id="rId3" Type="http://schemas.openxmlformats.org/officeDocument/2006/relationships/hyperlink" Target="https://docs.microsoft.com/en-us/azure/azure-monitor/logs/quick-create-workspace" TargetMode="External"/><Relationship Id="rId2" Type="http://schemas.openxmlformats.org/officeDocument/2006/relationships/hyperlink" Target="https://docs.microsoft.com/en-us/sql/sql-assessment-api/sql-assessment-api-overview" TargetMode="External"/><Relationship Id="rId1" Type="http://schemas.openxmlformats.org/officeDocument/2006/relationships/hyperlink" Target="https://github.com/microsoft/sql-server-samples/blob/master/samples/manage/sql-assessment-api/DefaultRuleset.csv" TargetMode="External"/><Relationship Id="rId4" Type="http://schemas.openxmlformats.org/officeDocument/2006/relationships/hyperlink" Target="https://docs.microsoft.com/en-us/azure/azure-sql/virtual-machines/windows/sql-agent-extension-manually-register-single-vm#full-mode"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727030-A103-47B3-9948-2C3FB624916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E1DD910-82B7-411B-86B9-779EC2DE4ABD}">
      <dgm:prSet custT="1"/>
      <dgm:spPr>
        <a:solidFill>
          <a:schemeClr val="accent4">
            <a:lumMod val="75000"/>
          </a:schemeClr>
        </a:solidFill>
      </dgm:spPr>
      <dgm:t>
        <a:bodyPr/>
        <a:lstStyle/>
        <a:p>
          <a:r>
            <a:rPr lang="en-US" sz="3600" b="0" i="0" baseline="0" dirty="0"/>
            <a:t>What are SQL IaaS Extensions?</a:t>
          </a:r>
          <a:endParaRPr lang="en-US" sz="3600" dirty="0"/>
        </a:p>
      </dgm:t>
    </dgm:pt>
    <dgm:pt modelId="{2A74FAF1-0C25-4177-A263-A3087463B3AC}" type="parTrans" cxnId="{1AF7F9CE-8F94-4D3F-BAF2-C3C12662D4E0}">
      <dgm:prSet/>
      <dgm:spPr/>
      <dgm:t>
        <a:bodyPr/>
        <a:lstStyle/>
        <a:p>
          <a:endParaRPr lang="en-US"/>
        </a:p>
      </dgm:t>
    </dgm:pt>
    <dgm:pt modelId="{B6272E9F-8C73-47FA-A097-213295CCE98A}" type="sibTrans" cxnId="{1AF7F9CE-8F94-4D3F-BAF2-C3C12662D4E0}">
      <dgm:prSet/>
      <dgm:spPr/>
      <dgm:t>
        <a:bodyPr/>
        <a:lstStyle/>
        <a:p>
          <a:endParaRPr lang="en-US"/>
        </a:p>
      </dgm:t>
    </dgm:pt>
    <dgm:pt modelId="{55F66497-B41F-458F-BE0F-83DCE0E8E50E}">
      <dgm:prSet custT="1"/>
      <dgm:spPr>
        <a:solidFill>
          <a:schemeClr val="accent4">
            <a:lumMod val="75000"/>
          </a:schemeClr>
        </a:solidFill>
      </dgm:spPr>
      <dgm:t>
        <a:bodyPr/>
        <a:lstStyle/>
        <a:p>
          <a:r>
            <a:rPr lang="en-US" sz="3600" dirty="0"/>
            <a:t>What is the SQL Assessment Tool?</a:t>
          </a:r>
        </a:p>
      </dgm:t>
    </dgm:pt>
    <dgm:pt modelId="{FCC6DE80-C34E-4965-9C42-549488322652}" type="parTrans" cxnId="{B6B78DE8-C420-491C-808C-96E256FE26E2}">
      <dgm:prSet/>
      <dgm:spPr/>
      <dgm:t>
        <a:bodyPr/>
        <a:lstStyle/>
        <a:p>
          <a:endParaRPr lang="en-US"/>
        </a:p>
      </dgm:t>
    </dgm:pt>
    <dgm:pt modelId="{F07B156D-AAA1-4F25-8334-78CC51F4D586}" type="sibTrans" cxnId="{B6B78DE8-C420-491C-808C-96E256FE26E2}">
      <dgm:prSet/>
      <dgm:spPr/>
      <dgm:t>
        <a:bodyPr/>
        <a:lstStyle/>
        <a:p>
          <a:endParaRPr lang="en-US"/>
        </a:p>
      </dgm:t>
    </dgm:pt>
    <dgm:pt modelId="{4BD4FAF8-946A-41E9-9381-61F0E7ADA6D6}">
      <dgm:prSet custT="1"/>
      <dgm:spPr>
        <a:solidFill>
          <a:schemeClr val="accent4">
            <a:lumMod val="75000"/>
          </a:schemeClr>
        </a:solidFill>
      </dgm:spPr>
      <dgm:t>
        <a:bodyPr/>
        <a:lstStyle/>
        <a:p>
          <a:r>
            <a:rPr lang="en-US" sz="3600" dirty="0"/>
            <a:t>Demo: Reviewing SQL Assessment Results</a:t>
          </a:r>
        </a:p>
      </dgm:t>
    </dgm:pt>
    <dgm:pt modelId="{F099D6F3-1298-4833-AF84-2AB04632F0A7}" type="parTrans" cxnId="{75A56FE4-8917-4D91-A31B-A0D21E2804E1}">
      <dgm:prSet/>
      <dgm:spPr/>
      <dgm:t>
        <a:bodyPr/>
        <a:lstStyle/>
        <a:p>
          <a:endParaRPr lang="en-US"/>
        </a:p>
      </dgm:t>
    </dgm:pt>
    <dgm:pt modelId="{38361396-6BC7-4A21-9592-0F4DDF0403C4}" type="sibTrans" cxnId="{75A56FE4-8917-4D91-A31B-A0D21E2804E1}">
      <dgm:prSet/>
      <dgm:spPr/>
      <dgm:t>
        <a:bodyPr/>
        <a:lstStyle/>
        <a:p>
          <a:endParaRPr lang="en-US"/>
        </a:p>
      </dgm:t>
    </dgm:pt>
    <dgm:pt modelId="{2485FC33-335E-4886-A0AF-2B54E7E872DF}">
      <dgm:prSet custT="1"/>
      <dgm:spPr>
        <a:solidFill>
          <a:schemeClr val="accent4">
            <a:lumMod val="75000"/>
          </a:schemeClr>
        </a:solidFill>
      </dgm:spPr>
      <dgm:t>
        <a:bodyPr/>
        <a:lstStyle/>
        <a:p>
          <a:r>
            <a:rPr lang="en-US" sz="3600" dirty="0"/>
            <a:t>Questions?</a:t>
          </a:r>
        </a:p>
      </dgm:t>
    </dgm:pt>
    <dgm:pt modelId="{C197E17E-52D4-43DF-AC71-D57A4727E3AF}" type="parTrans" cxnId="{E8A526D7-A055-4574-9942-0A3A8147D1A1}">
      <dgm:prSet/>
      <dgm:spPr/>
      <dgm:t>
        <a:bodyPr/>
        <a:lstStyle/>
        <a:p>
          <a:endParaRPr lang="en-US"/>
        </a:p>
      </dgm:t>
    </dgm:pt>
    <dgm:pt modelId="{C2BB889C-62AF-436A-80A8-FCC5869B189E}" type="sibTrans" cxnId="{E8A526D7-A055-4574-9942-0A3A8147D1A1}">
      <dgm:prSet/>
      <dgm:spPr/>
      <dgm:t>
        <a:bodyPr/>
        <a:lstStyle/>
        <a:p>
          <a:endParaRPr lang="en-US"/>
        </a:p>
      </dgm:t>
    </dgm:pt>
    <dgm:pt modelId="{920A3D74-469C-4EDC-8C5F-FD4FFD16E171}" type="pres">
      <dgm:prSet presAssocID="{E0727030-A103-47B3-9948-2C3FB6249167}" presName="linear" presStyleCnt="0">
        <dgm:presLayoutVars>
          <dgm:animLvl val="lvl"/>
          <dgm:resizeHandles val="exact"/>
        </dgm:presLayoutVars>
      </dgm:prSet>
      <dgm:spPr/>
    </dgm:pt>
    <dgm:pt modelId="{95CCDC1D-1D26-4DF7-90DC-036F2479319D}" type="pres">
      <dgm:prSet presAssocID="{0E1DD910-82B7-411B-86B9-779EC2DE4ABD}" presName="parentText" presStyleLbl="node1" presStyleIdx="0" presStyleCnt="4" custLinFactY="3319" custLinFactNeighborX="558" custLinFactNeighborY="100000">
        <dgm:presLayoutVars>
          <dgm:chMax val="0"/>
          <dgm:bulletEnabled val="1"/>
        </dgm:presLayoutVars>
      </dgm:prSet>
      <dgm:spPr/>
    </dgm:pt>
    <dgm:pt modelId="{E8867D22-4A84-4CF5-8391-5F233AA3220A}" type="pres">
      <dgm:prSet presAssocID="{B6272E9F-8C73-47FA-A097-213295CCE98A}" presName="spacer" presStyleCnt="0"/>
      <dgm:spPr/>
    </dgm:pt>
    <dgm:pt modelId="{54130A14-0DE4-44B1-B9EC-80A3DCC50B7F}" type="pres">
      <dgm:prSet presAssocID="{55F66497-B41F-458F-BE0F-83DCE0E8E50E}" presName="parentText" presStyleLbl="node1" presStyleIdx="1" presStyleCnt="4" custLinFactNeighborY="60540">
        <dgm:presLayoutVars>
          <dgm:chMax val="0"/>
          <dgm:bulletEnabled val="1"/>
        </dgm:presLayoutVars>
      </dgm:prSet>
      <dgm:spPr/>
    </dgm:pt>
    <dgm:pt modelId="{E9613EBB-B728-4088-BC43-A4365FB7F868}" type="pres">
      <dgm:prSet presAssocID="{F07B156D-AAA1-4F25-8334-78CC51F4D586}" presName="spacer" presStyleCnt="0"/>
      <dgm:spPr/>
    </dgm:pt>
    <dgm:pt modelId="{B71E38B3-5E14-40AF-B7A1-8EC8EFF8C325}" type="pres">
      <dgm:prSet presAssocID="{4BD4FAF8-946A-41E9-9381-61F0E7ADA6D6}" presName="parentText" presStyleLbl="node1" presStyleIdx="2" presStyleCnt="4">
        <dgm:presLayoutVars>
          <dgm:chMax val="0"/>
          <dgm:bulletEnabled val="1"/>
        </dgm:presLayoutVars>
      </dgm:prSet>
      <dgm:spPr/>
    </dgm:pt>
    <dgm:pt modelId="{14B44B68-AD3C-4828-AC65-A6758C68B3F0}" type="pres">
      <dgm:prSet presAssocID="{38361396-6BC7-4A21-9592-0F4DDF0403C4}" presName="spacer" presStyleCnt="0"/>
      <dgm:spPr/>
    </dgm:pt>
    <dgm:pt modelId="{E2743CF6-A306-4E6D-9045-E03190369147}" type="pres">
      <dgm:prSet presAssocID="{2485FC33-335E-4886-A0AF-2B54E7E872DF}" presName="parentText" presStyleLbl="node1" presStyleIdx="3" presStyleCnt="4" custLinFactNeighborY="-60540">
        <dgm:presLayoutVars>
          <dgm:chMax val="0"/>
          <dgm:bulletEnabled val="1"/>
        </dgm:presLayoutVars>
      </dgm:prSet>
      <dgm:spPr/>
    </dgm:pt>
  </dgm:ptLst>
  <dgm:cxnLst>
    <dgm:cxn modelId="{9D52880D-FF83-48DF-9423-509353A74E46}" type="presOf" srcId="{2485FC33-335E-4886-A0AF-2B54E7E872DF}" destId="{E2743CF6-A306-4E6D-9045-E03190369147}" srcOrd="0" destOrd="0" presId="urn:microsoft.com/office/officeart/2005/8/layout/vList2"/>
    <dgm:cxn modelId="{EBC7F721-7E7B-433E-AD5B-3FFEFACDECA9}" type="presOf" srcId="{4BD4FAF8-946A-41E9-9381-61F0E7ADA6D6}" destId="{B71E38B3-5E14-40AF-B7A1-8EC8EFF8C325}" srcOrd="0" destOrd="0" presId="urn:microsoft.com/office/officeart/2005/8/layout/vList2"/>
    <dgm:cxn modelId="{6EB1E762-B5BF-4F22-AEDE-604B1C57026E}" type="presOf" srcId="{0E1DD910-82B7-411B-86B9-779EC2DE4ABD}" destId="{95CCDC1D-1D26-4DF7-90DC-036F2479319D}" srcOrd="0" destOrd="0" presId="urn:microsoft.com/office/officeart/2005/8/layout/vList2"/>
    <dgm:cxn modelId="{FCC6D670-C38E-43EE-BEFB-6467E7F05192}" type="presOf" srcId="{55F66497-B41F-458F-BE0F-83DCE0E8E50E}" destId="{54130A14-0DE4-44B1-B9EC-80A3DCC50B7F}" srcOrd="0" destOrd="0" presId="urn:microsoft.com/office/officeart/2005/8/layout/vList2"/>
    <dgm:cxn modelId="{1AF7F9CE-8F94-4D3F-BAF2-C3C12662D4E0}" srcId="{E0727030-A103-47B3-9948-2C3FB6249167}" destId="{0E1DD910-82B7-411B-86B9-779EC2DE4ABD}" srcOrd="0" destOrd="0" parTransId="{2A74FAF1-0C25-4177-A263-A3087463B3AC}" sibTransId="{B6272E9F-8C73-47FA-A097-213295CCE98A}"/>
    <dgm:cxn modelId="{E1BFCCD1-756E-488E-A2A7-E717BF5E9B46}" type="presOf" srcId="{E0727030-A103-47B3-9948-2C3FB6249167}" destId="{920A3D74-469C-4EDC-8C5F-FD4FFD16E171}" srcOrd="0" destOrd="0" presId="urn:microsoft.com/office/officeart/2005/8/layout/vList2"/>
    <dgm:cxn modelId="{E8A526D7-A055-4574-9942-0A3A8147D1A1}" srcId="{E0727030-A103-47B3-9948-2C3FB6249167}" destId="{2485FC33-335E-4886-A0AF-2B54E7E872DF}" srcOrd="3" destOrd="0" parTransId="{C197E17E-52D4-43DF-AC71-D57A4727E3AF}" sibTransId="{C2BB889C-62AF-436A-80A8-FCC5869B189E}"/>
    <dgm:cxn modelId="{75A56FE4-8917-4D91-A31B-A0D21E2804E1}" srcId="{E0727030-A103-47B3-9948-2C3FB6249167}" destId="{4BD4FAF8-946A-41E9-9381-61F0E7ADA6D6}" srcOrd="2" destOrd="0" parTransId="{F099D6F3-1298-4833-AF84-2AB04632F0A7}" sibTransId="{38361396-6BC7-4A21-9592-0F4DDF0403C4}"/>
    <dgm:cxn modelId="{B6B78DE8-C420-491C-808C-96E256FE26E2}" srcId="{E0727030-A103-47B3-9948-2C3FB6249167}" destId="{55F66497-B41F-458F-BE0F-83DCE0E8E50E}" srcOrd="1" destOrd="0" parTransId="{FCC6DE80-C34E-4965-9C42-549488322652}" sibTransId="{F07B156D-AAA1-4F25-8334-78CC51F4D586}"/>
    <dgm:cxn modelId="{E236219C-818C-4C9A-9823-1D4B788B54FF}" type="presParOf" srcId="{920A3D74-469C-4EDC-8C5F-FD4FFD16E171}" destId="{95CCDC1D-1D26-4DF7-90DC-036F2479319D}" srcOrd="0" destOrd="0" presId="urn:microsoft.com/office/officeart/2005/8/layout/vList2"/>
    <dgm:cxn modelId="{2ABE5130-927F-4838-BCE8-ABC051DC2350}" type="presParOf" srcId="{920A3D74-469C-4EDC-8C5F-FD4FFD16E171}" destId="{E8867D22-4A84-4CF5-8391-5F233AA3220A}" srcOrd="1" destOrd="0" presId="urn:microsoft.com/office/officeart/2005/8/layout/vList2"/>
    <dgm:cxn modelId="{A0F26D8C-C2D2-4FC1-B49C-FEDB49725E29}" type="presParOf" srcId="{920A3D74-469C-4EDC-8C5F-FD4FFD16E171}" destId="{54130A14-0DE4-44B1-B9EC-80A3DCC50B7F}" srcOrd="2" destOrd="0" presId="urn:microsoft.com/office/officeart/2005/8/layout/vList2"/>
    <dgm:cxn modelId="{92FD8F0E-65A5-4B51-A5AE-9385C866ADCE}" type="presParOf" srcId="{920A3D74-469C-4EDC-8C5F-FD4FFD16E171}" destId="{E9613EBB-B728-4088-BC43-A4365FB7F868}" srcOrd="3" destOrd="0" presId="urn:microsoft.com/office/officeart/2005/8/layout/vList2"/>
    <dgm:cxn modelId="{6F01EDB4-BDB6-4A38-81F5-AAE2691A286A}" type="presParOf" srcId="{920A3D74-469C-4EDC-8C5F-FD4FFD16E171}" destId="{B71E38B3-5E14-40AF-B7A1-8EC8EFF8C325}" srcOrd="4" destOrd="0" presId="urn:microsoft.com/office/officeart/2005/8/layout/vList2"/>
    <dgm:cxn modelId="{44DE0AA5-DD3D-4C57-AEC6-B0D9421AC2E2}" type="presParOf" srcId="{920A3D74-469C-4EDC-8C5F-FD4FFD16E171}" destId="{14B44B68-AD3C-4828-AC65-A6758C68B3F0}" srcOrd="5" destOrd="0" presId="urn:microsoft.com/office/officeart/2005/8/layout/vList2"/>
    <dgm:cxn modelId="{1F0AFDB4-BCD7-4C2E-844B-C1D95F8F7BA6}" type="presParOf" srcId="{920A3D74-469C-4EDC-8C5F-FD4FFD16E171}" destId="{E2743CF6-A306-4E6D-9045-E03190369147}"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43819D-6516-495D-A4DC-FFF5584BEB83}" type="doc">
      <dgm:prSet loTypeId="urn:microsoft.com/office/officeart/2005/8/layout/hList1" loCatId="list" qsTypeId="urn:microsoft.com/office/officeart/2005/8/quickstyle/simple1" qsCatId="simple" csTypeId="urn:microsoft.com/office/officeart/2005/8/colors/accent5_2" csCatId="accent5" phldr="1"/>
      <dgm:spPr/>
      <dgm:t>
        <a:bodyPr/>
        <a:lstStyle/>
        <a:p>
          <a:endParaRPr lang="en-US"/>
        </a:p>
      </dgm:t>
    </dgm:pt>
    <dgm:pt modelId="{CA19BC7F-1751-47B3-A603-FC67118C81D1}">
      <dgm:prSet custT="1"/>
      <dgm:spPr/>
      <dgm:t>
        <a:bodyPr/>
        <a:lstStyle/>
        <a:p>
          <a:r>
            <a:rPr lang="en-US" sz="1800" b="0" i="0" dirty="0">
              <a:latin typeface="+mn-lt"/>
            </a:rPr>
            <a:t>Features</a:t>
          </a:r>
          <a:endParaRPr lang="en-US" sz="1800" dirty="0">
            <a:latin typeface="+mn-lt"/>
          </a:endParaRPr>
        </a:p>
      </dgm:t>
    </dgm:pt>
    <dgm:pt modelId="{82A40AF2-E4C5-42AF-8DA9-9600491DAAC8}" type="parTrans" cxnId="{1C8E1CBD-01EA-4E35-9578-BB2622D48E24}">
      <dgm:prSet/>
      <dgm:spPr/>
      <dgm:t>
        <a:bodyPr/>
        <a:lstStyle/>
        <a:p>
          <a:endParaRPr lang="en-US"/>
        </a:p>
      </dgm:t>
    </dgm:pt>
    <dgm:pt modelId="{C32C8C81-D0B4-4B64-951F-422B0E142D1C}" type="sibTrans" cxnId="{1C8E1CBD-01EA-4E35-9578-BB2622D48E24}">
      <dgm:prSet/>
      <dgm:spPr/>
      <dgm:t>
        <a:bodyPr/>
        <a:lstStyle/>
        <a:p>
          <a:endParaRPr lang="en-US"/>
        </a:p>
      </dgm:t>
    </dgm:pt>
    <dgm:pt modelId="{FB4F2B01-14D0-4CEE-B728-699C7038B3D7}">
      <dgm:prSet custT="1"/>
      <dgm:spPr/>
      <dgm:t>
        <a:bodyPr/>
        <a:lstStyle/>
        <a:p>
          <a:r>
            <a:rPr lang="en-US" sz="1600" b="0" i="0" dirty="0">
              <a:latin typeface="+mn-lt"/>
            </a:rPr>
            <a:t>Unified experience in managing all of Azure SQL family.</a:t>
          </a:r>
          <a:endParaRPr lang="en-US" sz="1600" dirty="0">
            <a:latin typeface="+mn-lt"/>
          </a:endParaRPr>
        </a:p>
      </dgm:t>
    </dgm:pt>
    <dgm:pt modelId="{30950411-F224-4954-AAE0-1AF0BB209BA4}" type="parTrans" cxnId="{9A8049C5-3044-40B2-A3F2-4EE269766CBD}">
      <dgm:prSet/>
      <dgm:spPr/>
      <dgm:t>
        <a:bodyPr/>
        <a:lstStyle/>
        <a:p>
          <a:endParaRPr lang="en-US"/>
        </a:p>
      </dgm:t>
    </dgm:pt>
    <dgm:pt modelId="{4AEAC21E-CA57-481E-AD57-5CA8B2D1F34D}" type="sibTrans" cxnId="{9A8049C5-3044-40B2-A3F2-4EE269766CBD}">
      <dgm:prSet/>
      <dgm:spPr/>
      <dgm:t>
        <a:bodyPr/>
        <a:lstStyle/>
        <a:p>
          <a:endParaRPr lang="en-US"/>
        </a:p>
      </dgm:t>
    </dgm:pt>
    <dgm:pt modelId="{53457792-0514-4BFC-A677-BC60E67F328E}">
      <dgm:prSet custT="1"/>
      <dgm:spPr/>
      <dgm:t>
        <a:bodyPr/>
        <a:lstStyle/>
        <a:p>
          <a:r>
            <a:rPr lang="en-US" sz="1600" b="0" dirty="0">
              <a:latin typeface="+mn-lt"/>
            </a:rPr>
            <a:t>Self-installs of SQL Server on an Azure virtual machine will need to register the SQL Server VM to install the SQL Server IaaS Agent Extension.</a:t>
          </a:r>
          <a:endParaRPr lang="en-US" sz="1600" dirty="0">
            <a:latin typeface="+mn-lt"/>
          </a:endParaRPr>
        </a:p>
      </dgm:t>
    </dgm:pt>
    <dgm:pt modelId="{2E49BE4E-D692-4843-96F3-1D62F22B4AED}" type="parTrans" cxnId="{C3F50817-904D-46EF-85B4-27EB9066E912}">
      <dgm:prSet/>
      <dgm:spPr/>
      <dgm:t>
        <a:bodyPr/>
        <a:lstStyle/>
        <a:p>
          <a:endParaRPr lang="en-US"/>
        </a:p>
      </dgm:t>
    </dgm:pt>
    <dgm:pt modelId="{A5CD96E2-A514-4F4C-A81D-B4BC05E58D40}" type="sibTrans" cxnId="{C3F50817-904D-46EF-85B4-27EB9066E912}">
      <dgm:prSet/>
      <dgm:spPr/>
      <dgm:t>
        <a:bodyPr/>
        <a:lstStyle/>
        <a:p>
          <a:endParaRPr lang="en-US"/>
        </a:p>
      </dgm:t>
    </dgm:pt>
    <dgm:pt modelId="{41981104-CF6F-4478-87DC-184381A7EEED}">
      <dgm:prSet custT="1"/>
      <dgm:spPr/>
      <dgm:t>
        <a:bodyPr/>
        <a:lstStyle/>
        <a:p>
          <a:r>
            <a:rPr lang="en-US" sz="1800" dirty="0">
              <a:latin typeface="+mn-lt"/>
            </a:rPr>
            <a:t>Registration</a:t>
          </a:r>
        </a:p>
      </dgm:t>
    </dgm:pt>
    <dgm:pt modelId="{78A1FDB3-B85E-4E7F-89F0-363CA68884E4}" type="parTrans" cxnId="{3C808187-1E50-4C4F-8831-481FAAB51FC9}">
      <dgm:prSet/>
      <dgm:spPr/>
      <dgm:t>
        <a:bodyPr/>
        <a:lstStyle/>
        <a:p>
          <a:endParaRPr lang="en-US"/>
        </a:p>
      </dgm:t>
    </dgm:pt>
    <dgm:pt modelId="{8E46BDFE-E581-4903-B4F5-164F082EF016}" type="sibTrans" cxnId="{3C808187-1E50-4C4F-8831-481FAAB51FC9}">
      <dgm:prSet/>
      <dgm:spPr/>
      <dgm:t>
        <a:bodyPr/>
        <a:lstStyle/>
        <a:p>
          <a:endParaRPr lang="en-US"/>
        </a:p>
      </dgm:t>
    </dgm:pt>
    <dgm:pt modelId="{7005B0C6-FFA9-49C3-9AEA-4702055FA962}">
      <dgm:prSet custT="1"/>
      <dgm:spPr/>
      <dgm:t>
        <a:bodyPr/>
        <a:lstStyle/>
        <a:p>
          <a:r>
            <a:rPr lang="en-US" sz="1600" b="0" dirty="0">
              <a:latin typeface="+mn-lt"/>
            </a:rPr>
            <a:t>Deploying a SQL Server VM Azure Marketplace image through the Azure portal automatically registers the SQL Server VM with the resource provider </a:t>
          </a:r>
          <a:endParaRPr lang="en-US" sz="1600" dirty="0">
            <a:latin typeface="+mn-lt"/>
          </a:endParaRPr>
        </a:p>
      </dgm:t>
    </dgm:pt>
    <dgm:pt modelId="{80FC0DB8-90EE-4850-94E1-B684A25DB6F1}" type="parTrans" cxnId="{261864A8-6F34-4AFF-AB58-80262435E1C7}">
      <dgm:prSet/>
      <dgm:spPr/>
      <dgm:t>
        <a:bodyPr/>
        <a:lstStyle/>
        <a:p>
          <a:endParaRPr lang="en-US"/>
        </a:p>
      </dgm:t>
    </dgm:pt>
    <dgm:pt modelId="{AF85B8B3-2D33-47CC-930D-6F076D6DDC75}" type="sibTrans" cxnId="{261864A8-6F34-4AFF-AB58-80262435E1C7}">
      <dgm:prSet/>
      <dgm:spPr/>
      <dgm:t>
        <a:bodyPr/>
        <a:lstStyle/>
        <a:p>
          <a:endParaRPr lang="en-US"/>
        </a:p>
      </dgm:t>
    </dgm:pt>
    <dgm:pt modelId="{C35CA295-BB22-4C91-B80D-D3E6101A5252}">
      <dgm:prSet custT="1"/>
      <dgm:spPr/>
      <dgm:t>
        <a:bodyPr/>
        <a:lstStyle/>
        <a:p>
          <a:r>
            <a:rPr lang="en-US" sz="1600" b="0" dirty="0">
              <a:latin typeface="+mn-lt"/>
            </a:rPr>
            <a:t>The SQL Server IaaS Agent Extension runs on Azure VMs.</a:t>
          </a:r>
          <a:endParaRPr lang="en-US" sz="1600" dirty="0">
            <a:latin typeface="+mn-lt"/>
          </a:endParaRPr>
        </a:p>
      </dgm:t>
    </dgm:pt>
    <dgm:pt modelId="{89774EF9-B32E-44FC-8883-407907443AD1}" type="parTrans" cxnId="{80849109-31FF-4EFA-A25E-309054766383}">
      <dgm:prSet/>
      <dgm:spPr/>
      <dgm:t>
        <a:bodyPr/>
        <a:lstStyle/>
        <a:p>
          <a:endParaRPr lang="en-US"/>
        </a:p>
      </dgm:t>
    </dgm:pt>
    <dgm:pt modelId="{F30C32C2-3935-43CF-B379-435872621F6D}" type="sibTrans" cxnId="{80849109-31FF-4EFA-A25E-309054766383}">
      <dgm:prSet/>
      <dgm:spPr/>
      <dgm:t>
        <a:bodyPr/>
        <a:lstStyle/>
        <a:p>
          <a:endParaRPr lang="en-US"/>
        </a:p>
      </dgm:t>
    </dgm:pt>
    <dgm:pt modelId="{CF559F53-1126-44D3-B299-8C819671CCEF}">
      <dgm:prSet custT="1"/>
      <dgm:spPr/>
      <dgm:t>
        <a:bodyPr/>
        <a:lstStyle/>
        <a:p>
          <a:r>
            <a:rPr lang="en-US" sz="1800" dirty="0">
              <a:latin typeface="+mn-lt"/>
            </a:rPr>
            <a:t>Licensing</a:t>
          </a:r>
        </a:p>
      </dgm:t>
    </dgm:pt>
    <dgm:pt modelId="{F445D21D-D8BB-4856-8C59-F3B5EAA5C42F}" type="parTrans" cxnId="{59432BE3-B454-4041-B8F8-3ED9C2AE9848}">
      <dgm:prSet/>
      <dgm:spPr/>
      <dgm:t>
        <a:bodyPr/>
        <a:lstStyle/>
        <a:p>
          <a:endParaRPr lang="en-US"/>
        </a:p>
      </dgm:t>
    </dgm:pt>
    <dgm:pt modelId="{72C294C5-CA30-40C2-BC79-2FBE7B977687}" type="sibTrans" cxnId="{59432BE3-B454-4041-B8F8-3ED9C2AE9848}">
      <dgm:prSet/>
      <dgm:spPr/>
      <dgm:t>
        <a:bodyPr/>
        <a:lstStyle/>
        <a:p>
          <a:endParaRPr lang="en-US"/>
        </a:p>
      </dgm:t>
    </dgm:pt>
    <dgm:pt modelId="{FC9EC362-FB10-4852-943D-D76207491DA1}">
      <dgm:prSet custT="1"/>
      <dgm:spPr/>
      <dgm:t>
        <a:bodyPr/>
        <a:lstStyle/>
        <a:p>
          <a:pPr>
            <a:buClr>
              <a:schemeClr val="accent1"/>
            </a:buClr>
            <a:buSzTx/>
            <a:buFont typeface="Arial" panose="020B0604020202020204" pitchFamily="34" charset="0"/>
            <a:buChar char="•"/>
          </a:pPr>
          <a:r>
            <a:rPr kumimoji="0" lang="en-US" sz="1600" b="0" i="0" u="none" strike="noStrike" cap="none" spc="0" normalizeH="0" baseline="0" noProof="0" dirty="0">
              <a:ln/>
              <a:effectLst/>
              <a:uLnTx/>
              <a:uFillTx/>
              <a:latin typeface="+mn-lt"/>
              <a:ea typeface="+mn-ea"/>
              <a:cs typeface="+mn-cs"/>
            </a:rPr>
            <a:t>Self-installed VMs with IaaS extension automatically indicate usage of Azure Hybrid Benefit. </a:t>
          </a:r>
          <a:endParaRPr lang="en-US" sz="1600" dirty="0">
            <a:latin typeface="+mn-lt"/>
          </a:endParaRPr>
        </a:p>
      </dgm:t>
    </dgm:pt>
    <dgm:pt modelId="{4BA4A702-902D-4E8B-911B-118CACDACF27}" type="parTrans" cxnId="{E2F6EA55-EDB3-499A-A6C1-A0B057E9D4F3}">
      <dgm:prSet/>
      <dgm:spPr/>
      <dgm:t>
        <a:bodyPr/>
        <a:lstStyle/>
        <a:p>
          <a:endParaRPr lang="en-US"/>
        </a:p>
      </dgm:t>
    </dgm:pt>
    <dgm:pt modelId="{5B6E4CE7-1D10-4CBF-98B9-D612651A08B6}" type="sibTrans" cxnId="{E2F6EA55-EDB3-499A-A6C1-A0B057E9D4F3}">
      <dgm:prSet/>
      <dgm:spPr/>
      <dgm:t>
        <a:bodyPr/>
        <a:lstStyle/>
        <a:p>
          <a:endParaRPr lang="en-US"/>
        </a:p>
      </dgm:t>
    </dgm:pt>
    <dgm:pt modelId="{CE7C2385-EEFF-4278-831D-2490E36C7985}">
      <dgm:prSet custT="1"/>
      <dgm:spPr/>
      <dgm:t>
        <a:bodyPr/>
        <a:lstStyle/>
        <a:p>
          <a:pPr>
            <a:buClrTx/>
            <a:buSzTx/>
            <a:buFont typeface="Arial" panose="020B0604020202020204" pitchFamily="34" charset="0"/>
            <a:buChar char="•"/>
          </a:pPr>
          <a:r>
            <a:rPr lang="en-US" sz="1600" b="0" noProof="0" dirty="0">
              <a:effectLst/>
              <a:latin typeface="+mn-lt"/>
              <a:ea typeface="+mn-ea"/>
              <a:cs typeface="+mn-cs"/>
            </a:rPr>
            <a:t>Save money by converting variable workloads with Software Assurance to </a:t>
          </a:r>
          <a:r>
            <a:rPr lang="en-US" sz="1600" b="0" noProof="0" dirty="0" err="1">
              <a:effectLst/>
              <a:latin typeface="+mn-lt"/>
              <a:ea typeface="+mn-ea"/>
              <a:cs typeface="+mn-cs"/>
            </a:rPr>
            <a:t>PayGo</a:t>
          </a:r>
          <a:r>
            <a:rPr lang="en-US" sz="1600" b="0" noProof="0" dirty="0">
              <a:effectLst/>
              <a:latin typeface="+mn-lt"/>
              <a:ea typeface="+mn-ea"/>
              <a:cs typeface="+mn-cs"/>
            </a:rPr>
            <a:t> images.</a:t>
          </a:r>
          <a:endParaRPr lang="en-US" sz="1600" dirty="0">
            <a:latin typeface="+mn-lt"/>
          </a:endParaRPr>
        </a:p>
      </dgm:t>
    </dgm:pt>
    <dgm:pt modelId="{77E7609B-4137-4CF1-A5C2-FCB61DCFDB26}" type="parTrans" cxnId="{7FA1238B-4DBA-423A-9140-EA13B393EAD3}">
      <dgm:prSet/>
      <dgm:spPr/>
      <dgm:t>
        <a:bodyPr/>
        <a:lstStyle/>
        <a:p>
          <a:endParaRPr lang="en-US"/>
        </a:p>
      </dgm:t>
    </dgm:pt>
    <dgm:pt modelId="{CE771677-5C8C-430F-ABAF-5F4A2EC910CB}" type="sibTrans" cxnId="{7FA1238B-4DBA-423A-9140-EA13B393EAD3}">
      <dgm:prSet/>
      <dgm:spPr/>
      <dgm:t>
        <a:bodyPr/>
        <a:lstStyle/>
        <a:p>
          <a:endParaRPr lang="en-US"/>
        </a:p>
      </dgm:t>
    </dgm:pt>
    <dgm:pt modelId="{B312732E-639D-424C-87E5-7C469F990D08}">
      <dgm:prSet custT="1"/>
      <dgm:spPr/>
      <dgm:t>
        <a:bodyPr/>
        <a:lstStyle/>
        <a:p>
          <a:pPr>
            <a:buClr>
              <a:schemeClr val="accent1"/>
            </a:buClr>
            <a:buSzTx/>
            <a:buFont typeface="Arial" panose="020B0604020202020204" pitchFamily="34" charset="0"/>
            <a:buChar char="•"/>
          </a:pPr>
          <a:r>
            <a:rPr kumimoji="0" lang="en-US" sz="1600" b="0" i="0" u="none" strike="noStrike" cap="none" spc="0" normalizeH="0" baseline="0" noProof="0" dirty="0">
              <a:ln/>
              <a:effectLst/>
              <a:uLnTx/>
              <a:uFillTx/>
              <a:latin typeface="+mn-lt"/>
              <a:ea typeface="+mn-ea"/>
              <a:cs typeface="+mn-cs"/>
            </a:rPr>
            <a:t>Ensure compliance with Azure terms and conditions without any extra effort.</a:t>
          </a:r>
          <a:endParaRPr lang="en-US" sz="1600" dirty="0">
            <a:latin typeface="+mn-lt"/>
          </a:endParaRPr>
        </a:p>
      </dgm:t>
    </dgm:pt>
    <dgm:pt modelId="{A7170B2E-A24C-4AE9-95BA-5F394906E0AF}" type="parTrans" cxnId="{27D3505C-29BE-427F-A872-D666413ADBA2}">
      <dgm:prSet/>
      <dgm:spPr/>
      <dgm:t>
        <a:bodyPr/>
        <a:lstStyle/>
        <a:p>
          <a:endParaRPr lang="en-US"/>
        </a:p>
      </dgm:t>
    </dgm:pt>
    <dgm:pt modelId="{E8022216-269B-4AAA-92C1-64466393DC93}" type="sibTrans" cxnId="{27D3505C-29BE-427F-A872-D666413ADBA2}">
      <dgm:prSet/>
      <dgm:spPr/>
      <dgm:t>
        <a:bodyPr/>
        <a:lstStyle/>
        <a:p>
          <a:endParaRPr lang="en-US"/>
        </a:p>
      </dgm:t>
    </dgm:pt>
    <dgm:pt modelId="{3E2B5F5E-1E94-4C7B-8985-F222E1A5AE44}">
      <dgm:prSet custT="1"/>
      <dgm:spPr/>
      <dgm:t>
        <a:bodyPr/>
        <a:lstStyle/>
        <a:p>
          <a:r>
            <a:rPr lang="en-US" sz="1600" b="0" noProof="0" dirty="0">
              <a:effectLst/>
              <a:latin typeface="+mn-lt"/>
              <a:ea typeface="+mn-ea"/>
              <a:cs typeface="+mn-cs"/>
            </a:rPr>
            <a:t>Self-installed VMs with IaaS extensions can be easily converted to </a:t>
          </a:r>
          <a:r>
            <a:rPr lang="en-US" sz="1600" b="0" noProof="0" dirty="0" err="1">
              <a:effectLst/>
              <a:latin typeface="+mn-lt"/>
              <a:ea typeface="+mn-ea"/>
              <a:cs typeface="+mn-cs"/>
            </a:rPr>
            <a:t>PayGo</a:t>
          </a:r>
          <a:r>
            <a:rPr lang="en-US" sz="1600" b="0" noProof="0" dirty="0">
              <a:effectLst/>
              <a:latin typeface="+mn-lt"/>
              <a:ea typeface="+mn-ea"/>
              <a:cs typeface="+mn-cs"/>
            </a:rPr>
            <a:t> images.</a:t>
          </a:r>
          <a:endParaRPr lang="en-US" sz="1600" dirty="0">
            <a:latin typeface="+mn-lt"/>
          </a:endParaRPr>
        </a:p>
      </dgm:t>
    </dgm:pt>
    <dgm:pt modelId="{511B5B71-CF35-4873-BE7A-C4103ECAA16D}" type="parTrans" cxnId="{E2EA912A-7AE5-476E-871D-1D8DB40CA774}">
      <dgm:prSet/>
      <dgm:spPr/>
      <dgm:t>
        <a:bodyPr/>
        <a:lstStyle/>
        <a:p>
          <a:endParaRPr lang="en-US"/>
        </a:p>
      </dgm:t>
    </dgm:pt>
    <dgm:pt modelId="{5DD11FAE-C08A-4D9C-9EBB-9FFB23F49B18}" type="sibTrans" cxnId="{E2EA912A-7AE5-476E-871D-1D8DB40CA774}">
      <dgm:prSet/>
      <dgm:spPr/>
      <dgm:t>
        <a:bodyPr/>
        <a:lstStyle/>
        <a:p>
          <a:endParaRPr lang="en-US"/>
        </a:p>
      </dgm:t>
    </dgm:pt>
    <dgm:pt modelId="{210F0508-55BB-4E3B-9FF1-CB102EB57BC0}">
      <dgm:prSet custT="1"/>
      <dgm:spPr/>
      <dgm:t>
        <a:bodyPr/>
        <a:lstStyle/>
        <a:p>
          <a:r>
            <a:rPr lang="en-US" sz="1800" dirty="0">
              <a:latin typeface="+mn-lt"/>
            </a:rPr>
            <a:t>Compliance</a:t>
          </a:r>
        </a:p>
      </dgm:t>
    </dgm:pt>
    <dgm:pt modelId="{D8FA2042-41E7-40D1-9482-ECB4B069DE30}" type="parTrans" cxnId="{2CDA7E71-AC6C-4488-85E2-6FE4506B6C26}">
      <dgm:prSet/>
      <dgm:spPr/>
      <dgm:t>
        <a:bodyPr/>
        <a:lstStyle/>
        <a:p>
          <a:endParaRPr lang="en-US"/>
        </a:p>
      </dgm:t>
    </dgm:pt>
    <dgm:pt modelId="{C431EDE4-5BEC-40AB-925A-DA06D87C8F0B}" type="sibTrans" cxnId="{2CDA7E71-AC6C-4488-85E2-6FE4506B6C26}">
      <dgm:prSet/>
      <dgm:spPr/>
      <dgm:t>
        <a:bodyPr/>
        <a:lstStyle/>
        <a:p>
          <a:endParaRPr lang="en-US"/>
        </a:p>
      </dgm:t>
    </dgm:pt>
    <dgm:pt modelId="{CF8D8BFC-C7B9-4643-999C-14578272AF69}">
      <dgm:prSet custT="1"/>
      <dgm:spPr/>
      <dgm:t>
        <a:bodyPr/>
        <a:lstStyle/>
        <a:p>
          <a:r>
            <a:rPr lang="en-US" sz="1600" b="0" dirty="0">
              <a:latin typeface="+mn-lt"/>
            </a:rPr>
            <a:t>Automates task like </a:t>
          </a:r>
          <a:r>
            <a:rPr lang="en-US" sz="1600" b="0" i="0" dirty="0">
              <a:latin typeface="+mn-lt"/>
            </a:rPr>
            <a:t>Backups and Patching.</a:t>
          </a:r>
          <a:endParaRPr lang="en-US" sz="1600" dirty="0">
            <a:latin typeface="+mn-lt"/>
          </a:endParaRPr>
        </a:p>
      </dgm:t>
    </dgm:pt>
    <dgm:pt modelId="{67410146-9BB1-4ABB-8249-0F1D84506261}" type="parTrans" cxnId="{19A3EA8E-4405-4220-A7C8-A632020C9EBC}">
      <dgm:prSet/>
      <dgm:spPr/>
      <dgm:t>
        <a:bodyPr/>
        <a:lstStyle/>
        <a:p>
          <a:endParaRPr lang="en-US"/>
        </a:p>
      </dgm:t>
    </dgm:pt>
    <dgm:pt modelId="{9574B7B0-B59C-4F4D-AD6F-0D9A00254566}" type="sibTrans" cxnId="{19A3EA8E-4405-4220-A7C8-A632020C9EBC}">
      <dgm:prSet/>
      <dgm:spPr/>
      <dgm:t>
        <a:bodyPr/>
        <a:lstStyle/>
        <a:p>
          <a:endParaRPr lang="en-US"/>
        </a:p>
      </dgm:t>
    </dgm:pt>
    <dgm:pt modelId="{C1736B5D-9EAF-4EA6-AC03-EE094A665289}">
      <dgm:prSet custT="1"/>
      <dgm:spPr/>
      <dgm:t>
        <a:bodyPr/>
        <a:lstStyle/>
        <a:p>
          <a:r>
            <a:rPr lang="en-US" sz="1600" b="0" i="0" dirty="0">
              <a:latin typeface="+mn-lt"/>
            </a:rPr>
            <a:t>Enables customers to adopt PaaS-like capabilities with IaaS-based SQL Servers at no additional charge.  </a:t>
          </a:r>
          <a:endParaRPr lang="en-US" sz="1600" dirty="0">
            <a:latin typeface="+mn-lt"/>
          </a:endParaRPr>
        </a:p>
      </dgm:t>
    </dgm:pt>
    <dgm:pt modelId="{C32D7723-0D7D-423D-AE79-74B3489BF568}" type="parTrans" cxnId="{C10FF38F-ECB2-406C-BE72-CAAB13A7A411}">
      <dgm:prSet/>
      <dgm:spPr/>
      <dgm:t>
        <a:bodyPr/>
        <a:lstStyle/>
        <a:p>
          <a:endParaRPr lang="en-US"/>
        </a:p>
      </dgm:t>
    </dgm:pt>
    <dgm:pt modelId="{CC1263FE-D8DB-4A5E-AB41-729BA9728945}" type="sibTrans" cxnId="{C10FF38F-ECB2-406C-BE72-CAAB13A7A411}">
      <dgm:prSet/>
      <dgm:spPr/>
      <dgm:t>
        <a:bodyPr/>
        <a:lstStyle/>
        <a:p>
          <a:endParaRPr lang="en-US"/>
        </a:p>
      </dgm:t>
    </dgm:pt>
    <dgm:pt modelId="{A4D9F59F-4961-4867-87FF-93E53543D345}">
      <dgm:prSet custT="1"/>
      <dgm:spPr/>
      <dgm:t>
        <a:bodyPr/>
        <a:lstStyle/>
        <a:p>
          <a:endParaRPr lang="en-US" sz="1600" dirty="0">
            <a:latin typeface="+mn-lt"/>
          </a:endParaRPr>
        </a:p>
      </dgm:t>
    </dgm:pt>
    <dgm:pt modelId="{37BB50B9-DE3B-43CB-BF20-D03B89C51DE1}" type="parTrans" cxnId="{E9092AA5-7617-48B8-9C42-71B2BB9D3E89}">
      <dgm:prSet/>
      <dgm:spPr/>
      <dgm:t>
        <a:bodyPr/>
        <a:lstStyle/>
        <a:p>
          <a:endParaRPr lang="en-US"/>
        </a:p>
      </dgm:t>
    </dgm:pt>
    <dgm:pt modelId="{A98850EA-DC1F-4C6A-BEA0-829158CEEA6F}" type="sibTrans" cxnId="{E9092AA5-7617-48B8-9C42-71B2BB9D3E89}">
      <dgm:prSet/>
      <dgm:spPr/>
      <dgm:t>
        <a:bodyPr/>
        <a:lstStyle/>
        <a:p>
          <a:endParaRPr lang="en-US"/>
        </a:p>
      </dgm:t>
    </dgm:pt>
    <dgm:pt modelId="{02FC5944-358B-4F7E-81BD-1D4C959BD7C4}">
      <dgm:prSet custT="1"/>
      <dgm:spPr/>
      <dgm:t>
        <a:bodyPr/>
        <a:lstStyle/>
        <a:p>
          <a:endParaRPr lang="en-US" sz="1600" dirty="0">
            <a:latin typeface="+mn-lt"/>
          </a:endParaRPr>
        </a:p>
      </dgm:t>
    </dgm:pt>
    <dgm:pt modelId="{BE029831-4D6F-4C1B-A8A8-145A3C5E62B0}" type="parTrans" cxnId="{C51F24F0-C9F4-4349-8ADE-EE66DC1EB131}">
      <dgm:prSet/>
      <dgm:spPr/>
      <dgm:t>
        <a:bodyPr/>
        <a:lstStyle/>
        <a:p>
          <a:endParaRPr lang="en-US"/>
        </a:p>
      </dgm:t>
    </dgm:pt>
    <dgm:pt modelId="{F5806005-A1FF-49BD-8DA7-4C8BA855AC5E}" type="sibTrans" cxnId="{C51F24F0-C9F4-4349-8ADE-EE66DC1EB131}">
      <dgm:prSet/>
      <dgm:spPr/>
      <dgm:t>
        <a:bodyPr/>
        <a:lstStyle/>
        <a:p>
          <a:endParaRPr lang="en-US"/>
        </a:p>
      </dgm:t>
    </dgm:pt>
    <dgm:pt modelId="{EBF1CE67-58CB-49D4-956F-AABFF6832C4F}">
      <dgm:prSet custT="1"/>
      <dgm:spPr/>
      <dgm:t>
        <a:bodyPr/>
        <a:lstStyle/>
        <a:p>
          <a:pPr>
            <a:buClr>
              <a:schemeClr val="accent1"/>
            </a:buClr>
            <a:buSzTx/>
            <a:buFont typeface="Arial" panose="020B0604020202020204" pitchFamily="34" charset="0"/>
            <a:buChar char="•"/>
          </a:pPr>
          <a:endParaRPr lang="en-US" sz="1600" dirty="0">
            <a:latin typeface="+mn-lt"/>
          </a:endParaRPr>
        </a:p>
      </dgm:t>
    </dgm:pt>
    <dgm:pt modelId="{91000425-E4EE-4B3A-8C4C-5288D99FF80E}" type="parTrans" cxnId="{09272CB0-B5CB-43DF-B01D-60F354DE5C20}">
      <dgm:prSet/>
      <dgm:spPr/>
      <dgm:t>
        <a:bodyPr/>
        <a:lstStyle/>
        <a:p>
          <a:endParaRPr lang="en-US"/>
        </a:p>
      </dgm:t>
    </dgm:pt>
    <dgm:pt modelId="{003DB196-41B2-4ADC-9AB7-9A3774D8375F}" type="sibTrans" cxnId="{09272CB0-B5CB-43DF-B01D-60F354DE5C20}">
      <dgm:prSet/>
      <dgm:spPr/>
      <dgm:t>
        <a:bodyPr/>
        <a:lstStyle/>
        <a:p>
          <a:endParaRPr lang="en-US"/>
        </a:p>
      </dgm:t>
    </dgm:pt>
    <dgm:pt modelId="{36BB42AB-1580-49D4-9CCB-4182F649B2ED}">
      <dgm:prSet custT="1"/>
      <dgm:spPr/>
      <dgm:t>
        <a:bodyPr/>
        <a:lstStyle/>
        <a:p>
          <a:endParaRPr lang="en-US" sz="1600" dirty="0">
            <a:latin typeface="+mn-lt"/>
          </a:endParaRPr>
        </a:p>
      </dgm:t>
    </dgm:pt>
    <dgm:pt modelId="{AAEB4CC9-7817-45D1-A7C9-113E3DCB2B2B}" type="parTrans" cxnId="{79EB5DC5-CD79-4956-8571-6847A978E557}">
      <dgm:prSet/>
      <dgm:spPr/>
      <dgm:t>
        <a:bodyPr/>
        <a:lstStyle/>
        <a:p>
          <a:endParaRPr lang="en-US"/>
        </a:p>
      </dgm:t>
    </dgm:pt>
    <dgm:pt modelId="{FB38443A-B0D3-42F5-81DE-861B7F9EB6E6}" type="sibTrans" cxnId="{79EB5DC5-CD79-4956-8571-6847A978E557}">
      <dgm:prSet/>
      <dgm:spPr/>
      <dgm:t>
        <a:bodyPr/>
        <a:lstStyle/>
        <a:p>
          <a:endParaRPr lang="en-US"/>
        </a:p>
      </dgm:t>
    </dgm:pt>
    <dgm:pt modelId="{A040EC93-4670-4985-AE9B-A3A20B74543E}">
      <dgm:prSet custT="1"/>
      <dgm:spPr/>
      <dgm:t>
        <a:bodyPr/>
        <a:lstStyle/>
        <a:p>
          <a:endParaRPr lang="en-US" sz="1600" dirty="0">
            <a:latin typeface="+mn-lt"/>
          </a:endParaRPr>
        </a:p>
      </dgm:t>
    </dgm:pt>
    <dgm:pt modelId="{4D88BF50-1699-49EA-9E56-A7DA6D504D2A}" type="parTrans" cxnId="{DEC6E3AD-FCBF-4872-8B2E-8B59A6424DFF}">
      <dgm:prSet/>
      <dgm:spPr/>
      <dgm:t>
        <a:bodyPr/>
        <a:lstStyle/>
        <a:p>
          <a:endParaRPr lang="en-US"/>
        </a:p>
      </dgm:t>
    </dgm:pt>
    <dgm:pt modelId="{29A66B8B-B900-482B-A950-99A03876A48D}" type="sibTrans" cxnId="{DEC6E3AD-FCBF-4872-8B2E-8B59A6424DFF}">
      <dgm:prSet/>
      <dgm:spPr/>
      <dgm:t>
        <a:bodyPr/>
        <a:lstStyle/>
        <a:p>
          <a:endParaRPr lang="en-US"/>
        </a:p>
      </dgm:t>
    </dgm:pt>
    <dgm:pt modelId="{9F63BE86-435A-4584-A9EC-7422FA8CE82E}">
      <dgm:prSet custT="1"/>
      <dgm:spPr/>
      <dgm:t>
        <a:bodyPr/>
        <a:lstStyle/>
        <a:p>
          <a:endParaRPr lang="en-US" sz="1600" dirty="0">
            <a:latin typeface="+mn-lt"/>
          </a:endParaRPr>
        </a:p>
      </dgm:t>
    </dgm:pt>
    <dgm:pt modelId="{380BED1F-083D-46AF-BFB4-8FE35D268399}" type="parTrans" cxnId="{65FD58B9-0329-4F9B-AB6F-C7671C63FC0E}">
      <dgm:prSet/>
      <dgm:spPr/>
      <dgm:t>
        <a:bodyPr/>
        <a:lstStyle/>
        <a:p>
          <a:endParaRPr lang="en-US"/>
        </a:p>
      </dgm:t>
    </dgm:pt>
    <dgm:pt modelId="{79D8DE0D-6565-4BE2-B9B7-4AA61471B84C}" type="sibTrans" cxnId="{65FD58B9-0329-4F9B-AB6F-C7671C63FC0E}">
      <dgm:prSet/>
      <dgm:spPr/>
      <dgm:t>
        <a:bodyPr/>
        <a:lstStyle/>
        <a:p>
          <a:endParaRPr lang="en-US"/>
        </a:p>
      </dgm:t>
    </dgm:pt>
    <dgm:pt modelId="{D4BA7F74-6007-41B2-AC06-1A70D2B44F20}" type="pres">
      <dgm:prSet presAssocID="{9643819D-6516-495D-A4DC-FFF5584BEB83}" presName="Name0" presStyleCnt="0">
        <dgm:presLayoutVars>
          <dgm:dir/>
          <dgm:animLvl val="lvl"/>
          <dgm:resizeHandles val="exact"/>
        </dgm:presLayoutVars>
      </dgm:prSet>
      <dgm:spPr/>
    </dgm:pt>
    <dgm:pt modelId="{51A42CC2-F21D-433B-9022-0A3478115F4B}" type="pres">
      <dgm:prSet presAssocID="{CA19BC7F-1751-47B3-A603-FC67118C81D1}" presName="composite" presStyleCnt="0"/>
      <dgm:spPr/>
    </dgm:pt>
    <dgm:pt modelId="{8B8AEDD0-4375-48B2-8642-76B72C15A2B2}" type="pres">
      <dgm:prSet presAssocID="{CA19BC7F-1751-47B3-A603-FC67118C81D1}" presName="parTx" presStyleLbl="alignNode1" presStyleIdx="0" presStyleCnt="4">
        <dgm:presLayoutVars>
          <dgm:chMax val="0"/>
          <dgm:chPref val="0"/>
          <dgm:bulletEnabled val="1"/>
        </dgm:presLayoutVars>
      </dgm:prSet>
      <dgm:spPr/>
    </dgm:pt>
    <dgm:pt modelId="{37CEDC0D-3E5E-4CC9-A379-AB0D19EC0E91}" type="pres">
      <dgm:prSet presAssocID="{CA19BC7F-1751-47B3-A603-FC67118C81D1}" presName="desTx" presStyleLbl="alignAccFollowNode1" presStyleIdx="0" presStyleCnt="4">
        <dgm:presLayoutVars>
          <dgm:bulletEnabled val="1"/>
        </dgm:presLayoutVars>
      </dgm:prSet>
      <dgm:spPr/>
    </dgm:pt>
    <dgm:pt modelId="{02EC566A-C99F-4D78-9D94-25B84A05D6E3}" type="pres">
      <dgm:prSet presAssocID="{C32C8C81-D0B4-4B64-951F-422B0E142D1C}" presName="space" presStyleCnt="0"/>
      <dgm:spPr/>
    </dgm:pt>
    <dgm:pt modelId="{9EDCFF09-0AD9-42FA-866A-F81AC44720E4}" type="pres">
      <dgm:prSet presAssocID="{41981104-CF6F-4478-87DC-184381A7EEED}" presName="composite" presStyleCnt="0"/>
      <dgm:spPr/>
    </dgm:pt>
    <dgm:pt modelId="{E6FFD6F6-C5EC-4151-8B05-B0C3CD5423C6}" type="pres">
      <dgm:prSet presAssocID="{41981104-CF6F-4478-87DC-184381A7EEED}" presName="parTx" presStyleLbl="alignNode1" presStyleIdx="1" presStyleCnt="4">
        <dgm:presLayoutVars>
          <dgm:chMax val="0"/>
          <dgm:chPref val="0"/>
          <dgm:bulletEnabled val="1"/>
        </dgm:presLayoutVars>
      </dgm:prSet>
      <dgm:spPr/>
    </dgm:pt>
    <dgm:pt modelId="{8C9C7A0F-F5FB-4586-B1D5-5DBD0C2355E4}" type="pres">
      <dgm:prSet presAssocID="{41981104-CF6F-4478-87DC-184381A7EEED}" presName="desTx" presStyleLbl="alignAccFollowNode1" presStyleIdx="1" presStyleCnt="4">
        <dgm:presLayoutVars>
          <dgm:bulletEnabled val="1"/>
        </dgm:presLayoutVars>
      </dgm:prSet>
      <dgm:spPr/>
    </dgm:pt>
    <dgm:pt modelId="{435257D2-A9C1-4A21-A17E-5CD426DF647E}" type="pres">
      <dgm:prSet presAssocID="{8E46BDFE-E581-4903-B4F5-164F082EF016}" presName="space" presStyleCnt="0"/>
      <dgm:spPr/>
    </dgm:pt>
    <dgm:pt modelId="{9739441A-8581-4E21-B0E5-493A8B3C91FC}" type="pres">
      <dgm:prSet presAssocID="{CF559F53-1126-44D3-B299-8C819671CCEF}" presName="composite" presStyleCnt="0"/>
      <dgm:spPr/>
    </dgm:pt>
    <dgm:pt modelId="{6AC3BB85-008D-469E-B806-47161618578B}" type="pres">
      <dgm:prSet presAssocID="{CF559F53-1126-44D3-B299-8C819671CCEF}" presName="parTx" presStyleLbl="alignNode1" presStyleIdx="2" presStyleCnt="4">
        <dgm:presLayoutVars>
          <dgm:chMax val="0"/>
          <dgm:chPref val="0"/>
          <dgm:bulletEnabled val="1"/>
        </dgm:presLayoutVars>
      </dgm:prSet>
      <dgm:spPr/>
    </dgm:pt>
    <dgm:pt modelId="{F132F62C-0F13-4907-B789-048942F93BA7}" type="pres">
      <dgm:prSet presAssocID="{CF559F53-1126-44D3-B299-8C819671CCEF}" presName="desTx" presStyleLbl="alignAccFollowNode1" presStyleIdx="2" presStyleCnt="4">
        <dgm:presLayoutVars>
          <dgm:bulletEnabled val="1"/>
        </dgm:presLayoutVars>
      </dgm:prSet>
      <dgm:spPr/>
    </dgm:pt>
    <dgm:pt modelId="{9F4A0979-46DE-403B-BF8E-480CD402ECF6}" type="pres">
      <dgm:prSet presAssocID="{72C294C5-CA30-40C2-BC79-2FBE7B977687}" presName="space" presStyleCnt="0"/>
      <dgm:spPr/>
    </dgm:pt>
    <dgm:pt modelId="{7C6AB044-2F83-48CF-8E0F-E5390B4DDB7E}" type="pres">
      <dgm:prSet presAssocID="{210F0508-55BB-4E3B-9FF1-CB102EB57BC0}" presName="composite" presStyleCnt="0"/>
      <dgm:spPr/>
    </dgm:pt>
    <dgm:pt modelId="{9D337215-EB4E-4E2C-A8F4-3B3DBFBD19A8}" type="pres">
      <dgm:prSet presAssocID="{210F0508-55BB-4E3B-9FF1-CB102EB57BC0}" presName="parTx" presStyleLbl="alignNode1" presStyleIdx="3" presStyleCnt="4">
        <dgm:presLayoutVars>
          <dgm:chMax val="0"/>
          <dgm:chPref val="0"/>
          <dgm:bulletEnabled val="1"/>
        </dgm:presLayoutVars>
      </dgm:prSet>
      <dgm:spPr/>
    </dgm:pt>
    <dgm:pt modelId="{474BFD65-7145-4C47-8BBE-91FBD6D2E81C}" type="pres">
      <dgm:prSet presAssocID="{210F0508-55BB-4E3B-9FF1-CB102EB57BC0}" presName="desTx" presStyleLbl="alignAccFollowNode1" presStyleIdx="3" presStyleCnt="4">
        <dgm:presLayoutVars>
          <dgm:bulletEnabled val="1"/>
        </dgm:presLayoutVars>
      </dgm:prSet>
      <dgm:spPr/>
    </dgm:pt>
  </dgm:ptLst>
  <dgm:cxnLst>
    <dgm:cxn modelId="{80849109-31FF-4EFA-A25E-309054766383}" srcId="{CA19BC7F-1751-47B3-A603-FC67118C81D1}" destId="{C35CA295-BB22-4C91-B80D-D3E6101A5252}" srcOrd="0" destOrd="0" parTransId="{89774EF9-B32E-44FC-8883-407907443AD1}" sibTransId="{F30C32C2-3935-43CF-B379-435872621F6D}"/>
    <dgm:cxn modelId="{3482E909-9B1D-4209-A4FD-879C4D365A13}" type="presOf" srcId="{7005B0C6-FFA9-49C3-9AEA-4702055FA962}" destId="{8C9C7A0F-F5FB-4586-B1D5-5DBD0C2355E4}" srcOrd="0" destOrd="0" presId="urn:microsoft.com/office/officeart/2005/8/layout/hList1"/>
    <dgm:cxn modelId="{C3F50817-904D-46EF-85B4-27EB9066E912}" srcId="{41981104-CF6F-4478-87DC-184381A7EEED}" destId="{53457792-0514-4BFC-A677-BC60E67F328E}" srcOrd="2" destOrd="0" parTransId="{2E49BE4E-D692-4843-96F3-1D62F22B4AED}" sibTransId="{A5CD96E2-A514-4F4C-A81D-B4BC05E58D40}"/>
    <dgm:cxn modelId="{20292C18-7DC2-4D88-90A1-F1C5D57B5344}" type="presOf" srcId="{C35CA295-BB22-4C91-B80D-D3E6101A5252}" destId="{37CEDC0D-3E5E-4CC9-A379-AB0D19EC0E91}" srcOrd="0" destOrd="0" presId="urn:microsoft.com/office/officeart/2005/8/layout/hList1"/>
    <dgm:cxn modelId="{55DF521A-C135-4E37-9E6C-E43D9B2960CF}" type="presOf" srcId="{CF8D8BFC-C7B9-4643-999C-14578272AF69}" destId="{37CEDC0D-3E5E-4CC9-A379-AB0D19EC0E91}" srcOrd="0" destOrd="2" presId="urn:microsoft.com/office/officeart/2005/8/layout/hList1"/>
    <dgm:cxn modelId="{8E293625-EF3E-4BD1-9CC9-390A9425FFB8}" type="presOf" srcId="{53457792-0514-4BFC-A677-BC60E67F328E}" destId="{8C9C7A0F-F5FB-4586-B1D5-5DBD0C2355E4}" srcOrd="0" destOrd="2" presId="urn:microsoft.com/office/officeart/2005/8/layout/hList1"/>
    <dgm:cxn modelId="{E2EA912A-7AE5-476E-871D-1D8DB40CA774}" srcId="{CF559F53-1126-44D3-B299-8C819671CCEF}" destId="{3E2B5F5E-1E94-4C7B-8985-F222E1A5AE44}" srcOrd="0" destOrd="0" parTransId="{511B5B71-CF35-4873-BE7A-C4103ECAA16D}" sibTransId="{5DD11FAE-C08A-4D9C-9EBB-9FFB23F49B18}"/>
    <dgm:cxn modelId="{3D2D2437-2E8E-45DB-8E78-457DAF7366FF}" type="presOf" srcId="{B312732E-639D-424C-87E5-7C469F990D08}" destId="{474BFD65-7145-4C47-8BBE-91FBD6D2E81C}" srcOrd="0" destOrd="2" presId="urn:microsoft.com/office/officeart/2005/8/layout/hList1"/>
    <dgm:cxn modelId="{56F4303E-E0F4-4FED-B982-85C0DD0C6D71}" type="presOf" srcId="{A040EC93-4670-4985-AE9B-A3A20B74543E}" destId="{37CEDC0D-3E5E-4CC9-A379-AB0D19EC0E91}" srcOrd="0" destOrd="3" presId="urn:microsoft.com/office/officeart/2005/8/layout/hList1"/>
    <dgm:cxn modelId="{27D3505C-29BE-427F-A872-D666413ADBA2}" srcId="{210F0508-55BB-4E3B-9FF1-CB102EB57BC0}" destId="{B312732E-639D-424C-87E5-7C469F990D08}" srcOrd="2" destOrd="0" parTransId="{A7170B2E-A24C-4AE9-95BA-5F394906E0AF}" sibTransId="{E8022216-269B-4AAA-92C1-64466393DC93}"/>
    <dgm:cxn modelId="{37AC0664-2379-4645-A5C8-7D1484C1E655}" type="presOf" srcId="{EBF1CE67-58CB-49D4-956F-AABFF6832C4F}" destId="{474BFD65-7145-4C47-8BBE-91FBD6D2E81C}" srcOrd="0" destOrd="1" presId="urn:microsoft.com/office/officeart/2005/8/layout/hList1"/>
    <dgm:cxn modelId="{DF49874F-F9D6-4CDC-87DA-59696C73EA84}" type="presOf" srcId="{41981104-CF6F-4478-87DC-184381A7EEED}" destId="{E6FFD6F6-C5EC-4151-8B05-B0C3CD5423C6}" srcOrd="0" destOrd="0" presId="urn:microsoft.com/office/officeart/2005/8/layout/hList1"/>
    <dgm:cxn modelId="{2CDA7E71-AC6C-4488-85E2-6FE4506B6C26}" srcId="{9643819D-6516-495D-A4DC-FFF5584BEB83}" destId="{210F0508-55BB-4E3B-9FF1-CB102EB57BC0}" srcOrd="3" destOrd="0" parTransId="{D8FA2042-41E7-40D1-9482-ECB4B069DE30}" sibTransId="{C431EDE4-5BEC-40AB-925A-DA06D87C8F0B}"/>
    <dgm:cxn modelId="{E2F6EA55-EDB3-499A-A6C1-A0B057E9D4F3}" srcId="{210F0508-55BB-4E3B-9FF1-CB102EB57BC0}" destId="{FC9EC362-FB10-4852-943D-D76207491DA1}" srcOrd="0" destOrd="0" parTransId="{4BA4A702-902D-4E8B-911B-118CACDACF27}" sibTransId="{5B6E4CE7-1D10-4CBF-98B9-D612651A08B6}"/>
    <dgm:cxn modelId="{71A8247F-8AEC-4FDD-A18A-FD1E6E1AD061}" type="presOf" srcId="{CF559F53-1126-44D3-B299-8C819671CCEF}" destId="{6AC3BB85-008D-469E-B806-47161618578B}" srcOrd="0" destOrd="0" presId="urn:microsoft.com/office/officeart/2005/8/layout/hList1"/>
    <dgm:cxn modelId="{29E35782-5066-4E91-A050-2FF2C06E6CBA}" type="presOf" srcId="{36BB42AB-1580-49D4-9CCB-4182F649B2ED}" destId="{37CEDC0D-3E5E-4CC9-A379-AB0D19EC0E91}" srcOrd="0" destOrd="1" presId="urn:microsoft.com/office/officeart/2005/8/layout/hList1"/>
    <dgm:cxn modelId="{3C808187-1E50-4C4F-8831-481FAAB51FC9}" srcId="{9643819D-6516-495D-A4DC-FFF5584BEB83}" destId="{41981104-CF6F-4478-87DC-184381A7EEED}" srcOrd="1" destOrd="0" parTransId="{78A1FDB3-B85E-4E7F-89F0-363CA68884E4}" sibTransId="{8E46BDFE-E581-4903-B4F5-164F082EF016}"/>
    <dgm:cxn modelId="{7FA1238B-4DBA-423A-9140-EA13B393EAD3}" srcId="{CF559F53-1126-44D3-B299-8C819671CCEF}" destId="{CE7C2385-EEFF-4278-831D-2490E36C7985}" srcOrd="2" destOrd="0" parTransId="{77E7609B-4137-4CF1-A5C2-FCB61DCFDB26}" sibTransId="{CE771677-5C8C-430F-ABAF-5F4A2EC910CB}"/>
    <dgm:cxn modelId="{19A3EA8E-4405-4220-A7C8-A632020C9EBC}" srcId="{CA19BC7F-1751-47B3-A603-FC67118C81D1}" destId="{CF8D8BFC-C7B9-4643-999C-14578272AF69}" srcOrd="2" destOrd="0" parTransId="{67410146-9BB1-4ABB-8249-0F1D84506261}" sibTransId="{9574B7B0-B59C-4F4D-AD6F-0D9A00254566}"/>
    <dgm:cxn modelId="{C10FF38F-ECB2-406C-BE72-CAAB13A7A411}" srcId="{CA19BC7F-1751-47B3-A603-FC67118C81D1}" destId="{C1736B5D-9EAF-4EA6-AC03-EE094A665289}" srcOrd="6" destOrd="0" parTransId="{C32D7723-0D7D-423D-AE79-74B3489BF568}" sibTransId="{CC1263FE-D8DB-4A5E-AB41-729BA9728945}"/>
    <dgm:cxn modelId="{B2243491-851D-4CBB-8213-F212838AEFBC}" type="presOf" srcId="{CA19BC7F-1751-47B3-A603-FC67118C81D1}" destId="{8B8AEDD0-4375-48B2-8642-76B72C15A2B2}" srcOrd="0" destOrd="0" presId="urn:microsoft.com/office/officeart/2005/8/layout/hList1"/>
    <dgm:cxn modelId="{E9092AA5-7617-48B8-9C42-71B2BB9D3E89}" srcId="{41981104-CF6F-4478-87DC-184381A7EEED}" destId="{A4D9F59F-4961-4867-87FF-93E53543D345}" srcOrd="1" destOrd="0" parTransId="{37BB50B9-DE3B-43CB-BF20-D03B89C51DE1}" sibTransId="{A98850EA-DC1F-4C6A-BEA0-829158CEEA6F}"/>
    <dgm:cxn modelId="{261864A8-6F34-4AFF-AB58-80262435E1C7}" srcId="{41981104-CF6F-4478-87DC-184381A7EEED}" destId="{7005B0C6-FFA9-49C3-9AEA-4702055FA962}" srcOrd="0" destOrd="0" parTransId="{80FC0DB8-90EE-4850-94E1-B684A25DB6F1}" sibTransId="{AF85B8B3-2D33-47CC-930D-6F076D6DDC75}"/>
    <dgm:cxn modelId="{7518C1A8-4D39-4B9D-8A3C-B40DD066CF40}" type="presOf" srcId="{FC9EC362-FB10-4852-943D-D76207491DA1}" destId="{474BFD65-7145-4C47-8BBE-91FBD6D2E81C}" srcOrd="0" destOrd="0" presId="urn:microsoft.com/office/officeart/2005/8/layout/hList1"/>
    <dgm:cxn modelId="{DD1B4CAD-BF0D-424A-965B-0DBED50D23DC}" type="presOf" srcId="{C1736B5D-9EAF-4EA6-AC03-EE094A665289}" destId="{37CEDC0D-3E5E-4CC9-A379-AB0D19EC0E91}" srcOrd="0" destOrd="6" presId="urn:microsoft.com/office/officeart/2005/8/layout/hList1"/>
    <dgm:cxn modelId="{DEC6E3AD-FCBF-4872-8B2E-8B59A6424DFF}" srcId="{CA19BC7F-1751-47B3-A603-FC67118C81D1}" destId="{A040EC93-4670-4985-AE9B-A3A20B74543E}" srcOrd="3" destOrd="0" parTransId="{4D88BF50-1699-49EA-9E56-A7DA6D504D2A}" sibTransId="{29A66B8B-B900-482B-A950-99A03876A48D}"/>
    <dgm:cxn modelId="{09272CB0-B5CB-43DF-B01D-60F354DE5C20}" srcId="{210F0508-55BB-4E3B-9FF1-CB102EB57BC0}" destId="{EBF1CE67-58CB-49D4-956F-AABFF6832C4F}" srcOrd="1" destOrd="0" parTransId="{91000425-E4EE-4B3A-8C4C-5288D99FF80E}" sibTransId="{003DB196-41B2-4ADC-9AB7-9A3774D8375F}"/>
    <dgm:cxn modelId="{3CA314B7-FA35-438E-A88E-B004794A3382}" type="presOf" srcId="{A4D9F59F-4961-4867-87FF-93E53543D345}" destId="{8C9C7A0F-F5FB-4586-B1D5-5DBD0C2355E4}" srcOrd="0" destOrd="1" presId="urn:microsoft.com/office/officeart/2005/8/layout/hList1"/>
    <dgm:cxn modelId="{65FD58B9-0329-4F9B-AB6F-C7671C63FC0E}" srcId="{CA19BC7F-1751-47B3-A603-FC67118C81D1}" destId="{9F63BE86-435A-4584-A9EC-7422FA8CE82E}" srcOrd="5" destOrd="0" parTransId="{380BED1F-083D-46AF-BFB4-8FE35D268399}" sibTransId="{79D8DE0D-6565-4BE2-B9B7-4AA61471B84C}"/>
    <dgm:cxn modelId="{A4B2C3BB-B4D3-4CC3-ADAB-8B1A0B544A01}" type="presOf" srcId="{02FC5944-358B-4F7E-81BD-1D4C959BD7C4}" destId="{F132F62C-0F13-4907-B789-048942F93BA7}" srcOrd="0" destOrd="1" presId="urn:microsoft.com/office/officeart/2005/8/layout/hList1"/>
    <dgm:cxn modelId="{1C8E1CBD-01EA-4E35-9578-BB2622D48E24}" srcId="{9643819D-6516-495D-A4DC-FFF5584BEB83}" destId="{CA19BC7F-1751-47B3-A603-FC67118C81D1}" srcOrd="0" destOrd="0" parTransId="{82A40AF2-E4C5-42AF-8DA9-9600491DAAC8}" sibTransId="{C32C8C81-D0B4-4B64-951F-422B0E142D1C}"/>
    <dgm:cxn modelId="{79EB5DC5-CD79-4956-8571-6847A978E557}" srcId="{CA19BC7F-1751-47B3-A603-FC67118C81D1}" destId="{36BB42AB-1580-49D4-9CCB-4182F649B2ED}" srcOrd="1" destOrd="0" parTransId="{AAEB4CC9-7817-45D1-A7C9-113E3DCB2B2B}" sibTransId="{FB38443A-B0D3-42F5-81DE-861B7F9EB6E6}"/>
    <dgm:cxn modelId="{9A8049C5-3044-40B2-A3F2-4EE269766CBD}" srcId="{CA19BC7F-1751-47B3-A603-FC67118C81D1}" destId="{FB4F2B01-14D0-4CEE-B728-699C7038B3D7}" srcOrd="4" destOrd="0" parTransId="{30950411-F224-4954-AAE0-1AF0BB209BA4}" sibTransId="{4AEAC21E-CA57-481E-AD57-5CA8B2D1F34D}"/>
    <dgm:cxn modelId="{D589FCCD-0E75-41FB-9022-0198129A988A}" type="presOf" srcId="{CE7C2385-EEFF-4278-831D-2490E36C7985}" destId="{F132F62C-0F13-4907-B789-048942F93BA7}" srcOrd="0" destOrd="2" presId="urn:microsoft.com/office/officeart/2005/8/layout/hList1"/>
    <dgm:cxn modelId="{59432BE3-B454-4041-B8F8-3ED9C2AE9848}" srcId="{9643819D-6516-495D-A4DC-FFF5584BEB83}" destId="{CF559F53-1126-44D3-B299-8C819671CCEF}" srcOrd="2" destOrd="0" parTransId="{F445D21D-D8BB-4856-8C59-F3B5EAA5C42F}" sibTransId="{72C294C5-CA30-40C2-BC79-2FBE7B977687}"/>
    <dgm:cxn modelId="{90A441E4-F49B-4685-BEC8-A7E1BBDE4AB7}" type="presOf" srcId="{9643819D-6516-495D-A4DC-FFF5584BEB83}" destId="{D4BA7F74-6007-41B2-AC06-1A70D2B44F20}" srcOrd="0" destOrd="0" presId="urn:microsoft.com/office/officeart/2005/8/layout/hList1"/>
    <dgm:cxn modelId="{8255D0E7-C95B-423E-B42D-8E4DE397B913}" type="presOf" srcId="{9F63BE86-435A-4584-A9EC-7422FA8CE82E}" destId="{37CEDC0D-3E5E-4CC9-A379-AB0D19EC0E91}" srcOrd="0" destOrd="5" presId="urn:microsoft.com/office/officeart/2005/8/layout/hList1"/>
    <dgm:cxn modelId="{39497CED-C542-44A5-91CF-7355E98431F1}" type="presOf" srcId="{FB4F2B01-14D0-4CEE-B728-699C7038B3D7}" destId="{37CEDC0D-3E5E-4CC9-A379-AB0D19EC0E91}" srcOrd="0" destOrd="4" presId="urn:microsoft.com/office/officeart/2005/8/layout/hList1"/>
    <dgm:cxn modelId="{8B30ADEF-2FCA-465D-91B1-2CB40084E22E}" type="presOf" srcId="{210F0508-55BB-4E3B-9FF1-CB102EB57BC0}" destId="{9D337215-EB4E-4E2C-A8F4-3B3DBFBD19A8}" srcOrd="0" destOrd="0" presId="urn:microsoft.com/office/officeart/2005/8/layout/hList1"/>
    <dgm:cxn modelId="{C51F24F0-C9F4-4349-8ADE-EE66DC1EB131}" srcId="{CF559F53-1126-44D3-B299-8C819671CCEF}" destId="{02FC5944-358B-4F7E-81BD-1D4C959BD7C4}" srcOrd="1" destOrd="0" parTransId="{BE029831-4D6F-4C1B-A8A8-145A3C5E62B0}" sibTransId="{F5806005-A1FF-49BD-8DA7-4C8BA855AC5E}"/>
    <dgm:cxn modelId="{BE64FAF9-FF11-427B-A565-FAE3CC9AC5D7}" type="presOf" srcId="{3E2B5F5E-1E94-4C7B-8985-F222E1A5AE44}" destId="{F132F62C-0F13-4907-B789-048942F93BA7}" srcOrd="0" destOrd="0" presId="urn:microsoft.com/office/officeart/2005/8/layout/hList1"/>
    <dgm:cxn modelId="{F55CFAB5-78D5-4A91-BE04-8988A8D9892A}" type="presParOf" srcId="{D4BA7F74-6007-41B2-AC06-1A70D2B44F20}" destId="{51A42CC2-F21D-433B-9022-0A3478115F4B}" srcOrd="0" destOrd="0" presId="urn:microsoft.com/office/officeart/2005/8/layout/hList1"/>
    <dgm:cxn modelId="{607FD1BE-D3DE-47C3-9360-AE6C12873F9D}" type="presParOf" srcId="{51A42CC2-F21D-433B-9022-0A3478115F4B}" destId="{8B8AEDD0-4375-48B2-8642-76B72C15A2B2}" srcOrd="0" destOrd="0" presId="urn:microsoft.com/office/officeart/2005/8/layout/hList1"/>
    <dgm:cxn modelId="{EF339C46-E901-458F-841F-60086666557F}" type="presParOf" srcId="{51A42CC2-F21D-433B-9022-0A3478115F4B}" destId="{37CEDC0D-3E5E-4CC9-A379-AB0D19EC0E91}" srcOrd="1" destOrd="0" presId="urn:microsoft.com/office/officeart/2005/8/layout/hList1"/>
    <dgm:cxn modelId="{3222650A-70BB-449F-B960-EFB14ABAEB48}" type="presParOf" srcId="{D4BA7F74-6007-41B2-AC06-1A70D2B44F20}" destId="{02EC566A-C99F-4D78-9D94-25B84A05D6E3}" srcOrd="1" destOrd="0" presId="urn:microsoft.com/office/officeart/2005/8/layout/hList1"/>
    <dgm:cxn modelId="{91AB936D-7A72-460A-9AB2-0CDA4BDBC282}" type="presParOf" srcId="{D4BA7F74-6007-41B2-AC06-1A70D2B44F20}" destId="{9EDCFF09-0AD9-42FA-866A-F81AC44720E4}" srcOrd="2" destOrd="0" presId="urn:microsoft.com/office/officeart/2005/8/layout/hList1"/>
    <dgm:cxn modelId="{27F6984F-7E71-441B-810E-1BB8B50D401B}" type="presParOf" srcId="{9EDCFF09-0AD9-42FA-866A-F81AC44720E4}" destId="{E6FFD6F6-C5EC-4151-8B05-B0C3CD5423C6}" srcOrd="0" destOrd="0" presId="urn:microsoft.com/office/officeart/2005/8/layout/hList1"/>
    <dgm:cxn modelId="{DC59084D-BC26-4BDC-94EB-277B3BE15A4C}" type="presParOf" srcId="{9EDCFF09-0AD9-42FA-866A-F81AC44720E4}" destId="{8C9C7A0F-F5FB-4586-B1D5-5DBD0C2355E4}" srcOrd="1" destOrd="0" presId="urn:microsoft.com/office/officeart/2005/8/layout/hList1"/>
    <dgm:cxn modelId="{DDDEA1BE-F4DC-4EC8-9CA0-FFF8F4A90DAC}" type="presParOf" srcId="{D4BA7F74-6007-41B2-AC06-1A70D2B44F20}" destId="{435257D2-A9C1-4A21-A17E-5CD426DF647E}" srcOrd="3" destOrd="0" presId="urn:microsoft.com/office/officeart/2005/8/layout/hList1"/>
    <dgm:cxn modelId="{16202BFD-F7FC-47D8-9FE7-65663B2DDB59}" type="presParOf" srcId="{D4BA7F74-6007-41B2-AC06-1A70D2B44F20}" destId="{9739441A-8581-4E21-B0E5-493A8B3C91FC}" srcOrd="4" destOrd="0" presId="urn:microsoft.com/office/officeart/2005/8/layout/hList1"/>
    <dgm:cxn modelId="{B2C47E98-9AF0-4F4B-A970-9F81348FBCE7}" type="presParOf" srcId="{9739441A-8581-4E21-B0E5-493A8B3C91FC}" destId="{6AC3BB85-008D-469E-B806-47161618578B}" srcOrd="0" destOrd="0" presId="urn:microsoft.com/office/officeart/2005/8/layout/hList1"/>
    <dgm:cxn modelId="{7440F29C-8F5E-4F53-BF82-94D6317DFFE2}" type="presParOf" srcId="{9739441A-8581-4E21-B0E5-493A8B3C91FC}" destId="{F132F62C-0F13-4907-B789-048942F93BA7}" srcOrd="1" destOrd="0" presId="urn:microsoft.com/office/officeart/2005/8/layout/hList1"/>
    <dgm:cxn modelId="{65D75C65-89C5-4C6D-927F-9C574ECA54CE}" type="presParOf" srcId="{D4BA7F74-6007-41B2-AC06-1A70D2B44F20}" destId="{9F4A0979-46DE-403B-BF8E-480CD402ECF6}" srcOrd="5" destOrd="0" presId="urn:microsoft.com/office/officeart/2005/8/layout/hList1"/>
    <dgm:cxn modelId="{F2475F65-274C-436D-B1B7-E31D4511B43C}" type="presParOf" srcId="{D4BA7F74-6007-41B2-AC06-1A70D2B44F20}" destId="{7C6AB044-2F83-48CF-8E0F-E5390B4DDB7E}" srcOrd="6" destOrd="0" presId="urn:microsoft.com/office/officeart/2005/8/layout/hList1"/>
    <dgm:cxn modelId="{EB7DE6EB-D82A-4784-8670-D131ED258AA6}" type="presParOf" srcId="{7C6AB044-2F83-48CF-8E0F-E5390B4DDB7E}" destId="{9D337215-EB4E-4E2C-A8F4-3B3DBFBD19A8}" srcOrd="0" destOrd="0" presId="urn:microsoft.com/office/officeart/2005/8/layout/hList1"/>
    <dgm:cxn modelId="{38351B1B-81B1-4EBA-8F35-C75452711323}" type="presParOf" srcId="{7C6AB044-2F83-48CF-8E0F-E5390B4DDB7E}" destId="{474BFD65-7145-4C47-8BBE-91FBD6D2E81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AFFEDE4-76B6-4AAC-9081-B59B7585594E}"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8D780DBD-447F-4C76-B216-D320463BE683}">
      <dgm:prSet/>
      <dgm:spPr/>
      <dgm:t>
        <a:bodyPr/>
        <a:lstStyle/>
        <a:p>
          <a:r>
            <a:rPr lang="en-US" b="0" i="0" baseline="0" dirty="0"/>
            <a:t>Automatic SQL Server VM registration button enables SQL IaaS Extensions features for all SQL VMs within a given subscription automatically.</a:t>
          </a:r>
          <a:endParaRPr lang="en-US" dirty="0"/>
        </a:p>
      </dgm:t>
    </dgm:pt>
    <dgm:pt modelId="{0AF1D2B9-77A2-4E00-B4FD-E33A0F5EB0DA}" type="parTrans" cxnId="{6BF58F6E-E991-49D2-9002-2FC5F60737A3}">
      <dgm:prSet/>
      <dgm:spPr/>
      <dgm:t>
        <a:bodyPr/>
        <a:lstStyle/>
        <a:p>
          <a:endParaRPr lang="en-US"/>
        </a:p>
      </dgm:t>
    </dgm:pt>
    <dgm:pt modelId="{45263367-B2AA-4C6C-8E74-5BB14475542B}" type="sibTrans" cxnId="{6BF58F6E-E991-49D2-9002-2FC5F60737A3}">
      <dgm:prSet/>
      <dgm:spPr/>
      <dgm:t>
        <a:bodyPr/>
        <a:lstStyle/>
        <a:p>
          <a:endParaRPr lang="en-US"/>
        </a:p>
      </dgm:t>
    </dgm:pt>
    <dgm:pt modelId="{75149F6C-984F-47BE-B6DE-B707E69B1B29}">
      <dgm:prSet/>
      <dgm:spPr/>
      <dgm:t>
        <a:bodyPr/>
        <a:lstStyle/>
        <a:p>
          <a:r>
            <a:rPr lang="en-US" b="0" i="0" baseline="0"/>
            <a:t>Activation will require consent of the person who performs activation.</a:t>
          </a:r>
          <a:endParaRPr lang="en-US"/>
        </a:p>
      </dgm:t>
    </dgm:pt>
    <dgm:pt modelId="{CF1E17DC-AEF5-453A-9003-9340E1BB5841}" type="parTrans" cxnId="{3F011136-8069-4D75-AE01-481C3513515C}">
      <dgm:prSet/>
      <dgm:spPr/>
      <dgm:t>
        <a:bodyPr/>
        <a:lstStyle/>
        <a:p>
          <a:endParaRPr lang="en-US"/>
        </a:p>
      </dgm:t>
    </dgm:pt>
    <dgm:pt modelId="{08B8AE0F-89D7-4EA2-9838-86C6605BFE90}" type="sibTrans" cxnId="{3F011136-8069-4D75-AE01-481C3513515C}">
      <dgm:prSet/>
      <dgm:spPr/>
      <dgm:t>
        <a:bodyPr/>
        <a:lstStyle/>
        <a:p>
          <a:endParaRPr lang="en-US"/>
        </a:p>
      </dgm:t>
    </dgm:pt>
    <dgm:pt modelId="{83AE6563-4110-4A52-B5B1-B9EFDFDD9FAE}">
      <dgm:prSet/>
      <dgm:spPr/>
      <dgm:t>
        <a:bodyPr/>
        <a:lstStyle/>
        <a:p>
          <a:r>
            <a:rPr lang="en-US" b="0" i="0" baseline="0" dirty="0"/>
            <a:t>Microsoft will not use this data for licensing audits without customer’s advance consent.</a:t>
          </a:r>
          <a:endParaRPr lang="en-US" dirty="0"/>
        </a:p>
      </dgm:t>
    </dgm:pt>
    <dgm:pt modelId="{09D245AF-1C92-4CD0-ADA3-0D20FC7358D7}" type="parTrans" cxnId="{58C49993-DDD5-476C-8C12-0A2BB1FDD1AF}">
      <dgm:prSet/>
      <dgm:spPr/>
      <dgm:t>
        <a:bodyPr/>
        <a:lstStyle/>
        <a:p>
          <a:endParaRPr lang="en-US"/>
        </a:p>
      </dgm:t>
    </dgm:pt>
    <dgm:pt modelId="{B05F3610-81F3-47D9-8962-D932401DE11E}" type="sibTrans" cxnId="{58C49993-DDD5-476C-8C12-0A2BB1FDD1AF}">
      <dgm:prSet/>
      <dgm:spPr/>
      <dgm:t>
        <a:bodyPr/>
        <a:lstStyle/>
        <a:p>
          <a:endParaRPr lang="en-US"/>
        </a:p>
      </dgm:t>
    </dgm:pt>
    <dgm:pt modelId="{63580BD6-93F0-4755-BF31-42E17C834624}">
      <dgm:prSet/>
      <dgm:spPr/>
      <dgm:t>
        <a:bodyPr/>
        <a:lstStyle/>
        <a:p>
          <a:r>
            <a:rPr lang="en-US" b="0" i="0" baseline="0" dirty="0"/>
            <a:t>The SQL IaaS extensions will become active for all SQL Server VMs, and the features of lightweight mode will be activated within 24 hours after the activation.</a:t>
          </a:r>
          <a:endParaRPr lang="en-US" dirty="0"/>
        </a:p>
      </dgm:t>
    </dgm:pt>
    <dgm:pt modelId="{69CBE7C4-ACFB-49F7-9A54-A16D6F4618DD}" type="parTrans" cxnId="{8AFE20E5-5452-4CB4-9AC8-B39BF0726D96}">
      <dgm:prSet/>
      <dgm:spPr/>
      <dgm:t>
        <a:bodyPr/>
        <a:lstStyle/>
        <a:p>
          <a:endParaRPr lang="en-US"/>
        </a:p>
      </dgm:t>
    </dgm:pt>
    <dgm:pt modelId="{5AED8B13-A459-4F9B-98D5-14C1B0DD01E9}" type="sibTrans" cxnId="{8AFE20E5-5452-4CB4-9AC8-B39BF0726D96}">
      <dgm:prSet/>
      <dgm:spPr/>
      <dgm:t>
        <a:bodyPr/>
        <a:lstStyle/>
        <a:p>
          <a:endParaRPr lang="en-US"/>
        </a:p>
      </dgm:t>
    </dgm:pt>
    <dgm:pt modelId="{F70B8272-AA5C-474C-A56E-C27D7A0134D8}">
      <dgm:prSet/>
      <dgm:spPr/>
      <dgm:t>
        <a:bodyPr/>
        <a:lstStyle/>
        <a:p>
          <a:r>
            <a:rPr lang="en-US" b="0" i="0" baseline="0" dirty="0"/>
            <a:t>Registering extension in full mode does not require restart of the server.</a:t>
          </a:r>
          <a:endParaRPr lang="en-US" dirty="0"/>
        </a:p>
      </dgm:t>
    </dgm:pt>
    <dgm:pt modelId="{1FCB4822-5CEB-48FF-891F-6CCDB11F191A}" type="parTrans" cxnId="{9B7BA934-9890-4A64-A643-850B96AAE273}">
      <dgm:prSet/>
      <dgm:spPr/>
      <dgm:t>
        <a:bodyPr/>
        <a:lstStyle/>
        <a:p>
          <a:endParaRPr lang="en-US"/>
        </a:p>
      </dgm:t>
    </dgm:pt>
    <dgm:pt modelId="{37BF567C-F496-4203-82B6-00B102C0006C}" type="sibTrans" cxnId="{9B7BA934-9890-4A64-A643-850B96AAE273}">
      <dgm:prSet/>
      <dgm:spPr/>
      <dgm:t>
        <a:bodyPr/>
        <a:lstStyle/>
        <a:p>
          <a:endParaRPr lang="en-US"/>
        </a:p>
      </dgm:t>
    </dgm:pt>
    <dgm:pt modelId="{F14E83DD-1F05-4B47-9E1B-FAF0A1C6EFAD}" type="pres">
      <dgm:prSet presAssocID="{8AFFEDE4-76B6-4AAC-9081-B59B7585594E}" presName="linear" presStyleCnt="0">
        <dgm:presLayoutVars>
          <dgm:animLvl val="lvl"/>
          <dgm:resizeHandles val="exact"/>
        </dgm:presLayoutVars>
      </dgm:prSet>
      <dgm:spPr/>
    </dgm:pt>
    <dgm:pt modelId="{BAC0B90A-3F65-45B1-85C4-358FB87EAE82}" type="pres">
      <dgm:prSet presAssocID="{8D780DBD-447F-4C76-B216-D320463BE683}" presName="parentText" presStyleLbl="node1" presStyleIdx="0" presStyleCnt="5">
        <dgm:presLayoutVars>
          <dgm:chMax val="0"/>
          <dgm:bulletEnabled val="1"/>
        </dgm:presLayoutVars>
      </dgm:prSet>
      <dgm:spPr/>
    </dgm:pt>
    <dgm:pt modelId="{3C2C1743-78D5-4156-8D48-F75040906504}" type="pres">
      <dgm:prSet presAssocID="{45263367-B2AA-4C6C-8E74-5BB14475542B}" presName="spacer" presStyleCnt="0"/>
      <dgm:spPr/>
    </dgm:pt>
    <dgm:pt modelId="{8FF79F79-9276-4DA1-8BB3-194B2E3CD55F}" type="pres">
      <dgm:prSet presAssocID="{75149F6C-984F-47BE-B6DE-B707E69B1B29}" presName="parentText" presStyleLbl="node1" presStyleIdx="1" presStyleCnt="5">
        <dgm:presLayoutVars>
          <dgm:chMax val="0"/>
          <dgm:bulletEnabled val="1"/>
        </dgm:presLayoutVars>
      </dgm:prSet>
      <dgm:spPr/>
    </dgm:pt>
    <dgm:pt modelId="{1DE08F5F-7A6C-4B0D-A6AB-188D20E9AD25}" type="pres">
      <dgm:prSet presAssocID="{08B8AE0F-89D7-4EA2-9838-86C6605BFE90}" presName="spacer" presStyleCnt="0"/>
      <dgm:spPr/>
    </dgm:pt>
    <dgm:pt modelId="{B1DDCABE-2E6F-47DF-BE60-99A8F92DA279}" type="pres">
      <dgm:prSet presAssocID="{83AE6563-4110-4A52-B5B1-B9EFDFDD9FAE}" presName="parentText" presStyleLbl="node1" presStyleIdx="2" presStyleCnt="5">
        <dgm:presLayoutVars>
          <dgm:chMax val="0"/>
          <dgm:bulletEnabled val="1"/>
        </dgm:presLayoutVars>
      </dgm:prSet>
      <dgm:spPr/>
    </dgm:pt>
    <dgm:pt modelId="{99830BA4-8499-4121-8616-3D69F46FEEE8}" type="pres">
      <dgm:prSet presAssocID="{B05F3610-81F3-47D9-8962-D932401DE11E}" presName="spacer" presStyleCnt="0"/>
      <dgm:spPr/>
    </dgm:pt>
    <dgm:pt modelId="{A8846AFB-13E1-4783-8858-B12EE4ED42AE}" type="pres">
      <dgm:prSet presAssocID="{63580BD6-93F0-4755-BF31-42E17C834624}" presName="parentText" presStyleLbl="node1" presStyleIdx="3" presStyleCnt="5">
        <dgm:presLayoutVars>
          <dgm:chMax val="0"/>
          <dgm:bulletEnabled val="1"/>
        </dgm:presLayoutVars>
      </dgm:prSet>
      <dgm:spPr/>
    </dgm:pt>
    <dgm:pt modelId="{1F1AFF86-FA38-4B30-BC05-F4628B31B84A}" type="pres">
      <dgm:prSet presAssocID="{5AED8B13-A459-4F9B-98D5-14C1B0DD01E9}" presName="spacer" presStyleCnt="0"/>
      <dgm:spPr/>
    </dgm:pt>
    <dgm:pt modelId="{52A87224-4B03-4E82-8996-444A76906D32}" type="pres">
      <dgm:prSet presAssocID="{F70B8272-AA5C-474C-A56E-C27D7A0134D8}" presName="parentText" presStyleLbl="node1" presStyleIdx="4" presStyleCnt="5">
        <dgm:presLayoutVars>
          <dgm:chMax val="0"/>
          <dgm:bulletEnabled val="1"/>
        </dgm:presLayoutVars>
      </dgm:prSet>
      <dgm:spPr/>
    </dgm:pt>
  </dgm:ptLst>
  <dgm:cxnLst>
    <dgm:cxn modelId="{B0AE5724-7E08-4FAC-80A3-C1E87B01BDD8}" type="presOf" srcId="{63580BD6-93F0-4755-BF31-42E17C834624}" destId="{A8846AFB-13E1-4783-8858-B12EE4ED42AE}" srcOrd="0" destOrd="0" presId="urn:microsoft.com/office/officeart/2005/8/layout/vList2"/>
    <dgm:cxn modelId="{3BB93F27-6388-455C-B8CB-ACEE17588119}" type="presOf" srcId="{8AFFEDE4-76B6-4AAC-9081-B59B7585594E}" destId="{F14E83DD-1F05-4B47-9E1B-FAF0A1C6EFAD}" srcOrd="0" destOrd="0" presId="urn:microsoft.com/office/officeart/2005/8/layout/vList2"/>
    <dgm:cxn modelId="{9B7BA934-9890-4A64-A643-850B96AAE273}" srcId="{8AFFEDE4-76B6-4AAC-9081-B59B7585594E}" destId="{F70B8272-AA5C-474C-A56E-C27D7A0134D8}" srcOrd="4" destOrd="0" parTransId="{1FCB4822-5CEB-48FF-891F-6CCDB11F191A}" sibTransId="{37BF567C-F496-4203-82B6-00B102C0006C}"/>
    <dgm:cxn modelId="{3F011136-8069-4D75-AE01-481C3513515C}" srcId="{8AFFEDE4-76B6-4AAC-9081-B59B7585594E}" destId="{75149F6C-984F-47BE-B6DE-B707E69B1B29}" srcOrd="1" destOrd="0" parTransId="{CF1E17DC-AEF5-453A-9003-9340E1BB5841}" sibTransId="{08B8AE0F-89D7-4EA2-9838-86C6605BFE90}"/>
    <dgm:cxn modelId="{6BF58F6E-E991-49D2-9002-2FC5F60737A3}" srcId="{8AFFEDE4-76B6-4AAC-9081-B59B7585594E}" destId="{8D780DBD-447F-4C76-B216-D320463BE683}" srcOrd="0" destOrd="0" parTransId="{0AF1D2B9-77A2-4E00-B4FD-E33A0F5EB0DA}" sibTransId="{45263367-B2AA-4C6C-8E74-5BB14475542B}"/>
    <dgm:cxn modelId="{12D85870-3903-419D-9BB6-303F61B664AF}" type="presOf" srcId="{75149F6C-984F-47BE-B6DE-B707E69B1B29}" destId="{8FF79F79-9276-4DA1-8BB3-194B2E3CD55F}" srcOrd="0" destOrd="0" presId="urn:microsoft.com/office/officeart/2005/8/layout/vList2"/>
    <dgm:cxn modelId="{57FCD38C-0B46-47D6-BD14-E93EEE19F8CA}" type="presOf" srcId="{8D780DBD-447F-4C76-B216-D320463BE683}" destId="{BAC0B90A-3F65-45B1-85C4-358FB87EAE82}" srcOrd="0" destOrd="0" presId="urn:microsoft.com/office/officeart/2005/8/layout/vList2"/>
    <dgm:cxn modelId="{58C49993-DDD5-476C-8C12-0A2BB1FDD1AF}" srcId="{8AFFEDE4-76B6-4AAC-9081-B59B7585594E}" destId="{83AE6563-4110-4A52-B5B1-B9EFDFDD9FAE}" srcOrd="2" destOrd="0" parTransId="{09D245AF-1C92-4CD0-ADA3-0D20FC7358D7}" sibTransId="{B05F3610-81F3-47D9-8962-D932401DE11E}"/>
    <dgm:cxn modelId="{77A229DE-3866-4C78-A05D-474A9CB1E985}" type="presOf" srcId="{F70B8272-AA5C-474C-A56E-C27D7A0134D8}" destId="{52A87224-4B03-4E82-8996-444A76906D32}" srcOrd="0" destOrd="0" presId="urn:microsoft.com/office/officeart/2005/8/layout/vList2"/>
    <dgm:cxn modelId="{8AFE20E5-5452-4CB4-9AC8-B39BF0726D96}" srcId="{8AFFEDE4-76B6-4AAC-9081-B59B7585594E}" destId="{63580BD6-93F0-4755-BF31-42E17C834624}" srcOrd="3" destOrd="0" parTransId="{69CBE7C4-ACFB-49F7-9A54-A16D6F4618DD}" sibTransId="{5AED8B13-A459-4F9B-98D5-14C1B0DD01E9}"/>
    <dgm:cxn modelId="{361248E6-B020-44BD-9176-299F80182382}" type="presOf" srcId="{83AE6563-4110-4A52-B5B1-B9EFDFDD9FAE}" destId="{B1DDCABE-2E6F-47DF-BE60-99A8F92DA279}" srcOrd="0" destOrd="0" presId="urn:microsoft.com/office/officeart/2005/8/layout/vList2"/>
    <dgm:cxn modelId="{69D5DA23-EE67-41F4-84A0-4EE40F77C0A8}" type="presParOf" srcId="{F14E83DD-1F05-4B47-9E1B-FAF0A1C6EFAD}" destId="{BAC0B90A-3F65-45B1-85C4-358FB87EAE82}" srcOrd="0" destOrd="0" presId="urn:microsoft.com/office/officeart/2005/8/layout/vList2"/>
    <dgm:cxn modelId="{E4E8F5B9-1E29-4FA1-8E0B-CABF9E3F8EA1}" type="presParOf" srcId="{F14E83DD-1F05-4B47-9E1B-FAF0A1C6EFAD}" destId="{3C2C1743-78D5-4156-8D48-F75040906504}" srcOrd="1" destOrd="0" presId="urn:microsoft.com/office/officeart/2005/8/layout/vList2"/>
    <dgm:cxn modelId="{D4CB0A88-4166-43F7-8FA6-4833351BBC73}" type="presParOf" srcId="{F14E83DD-1F05-4B47-9E1B-FAF0A1C6EFAD}" destId="{8FF79F79-9276-4DA1-8BB3-194B2E3CD55F}" srcOrd="2" destOrd="0" presId="urn:microsoft.com/office/officeart/2005/8/layout/vList2"/>
    <dgm:cxn modelId="{C5E30CD5-CE2D-4ED4-8ECE-2BBF28C7D138}" type="presParOf" srcId="{F14E83DD-1F05-4B47-9E1B-FAF0A1C6EFAD}" destId="{1DE08F5F-7A6C-4B0D-A6AB-188D20E9AD25}" srcOrd="3" destOrd="0" presId="urn:microsoft.com/office/officeart/2005/8/layout/vList2"/>
    <dgm:cxn modelId="{A0FE9E01-B2CE-48F3-8422-F3018023D8AA}" type="presParOf" srcId="{F14E83DD-1F05-4B47-9E1B-FAF0A1C6EFAD}" destId="{B1DDCABE-2E6F-47DF-BE60-99A8F92DA279}" srcOrd="4" destOrd="0" presId="urn:microsoft.com/office/officeart/2005/8/layout/vList2"/>
    <dgm:cxn modelId="{6D5FFEFA-0A54-4B42-8E40-12F9AE2E8C00}" type="presParOf" srcId="{F14E83DD-1F05-4B47-9E1B-FAF0A1C6EFAD}" destId="{99830BA4-8499-4121-8616-3D69F46FEEE8}" srcOrd="5" destOrd="0" presId="urn:microsoft.com/office/officeart/2005/8/layout/vList2"/>
    <dgm:cxn modelId="{0B0C71E6-DC15-4B7E-9646-47FF3C892296}" type="presParOf" srcId="{F14E83DD-1F05-4B47-9E1B-FAF0A1C6EFAD}" destId="{A8846AFB-13E1-4783-8858-B12EE4ED42AE}" srcOrd="6" destOrd="0" presId="urn:microsoft.com/office/officeart/2005/8/layout/vList2"/>
    <dgm:cxn modelId="{EA0282B4-2E15-4A22-94C6-C415BD173391}" type="presParOf" srcId="{F14E83DD-1F05-4B47-9E1B-FAF0A1C6EFAD}" destId="{1F1AFF86-FA38-4B30-BC05-F4628B31B84A}" srcOrd="7" destOrd="0" presId="urn:microsoft.com/office/officeart/2005/8/layout/vList2"/>
    <dgm:cxn modelId="{BF1133A1-F515-4D3C-B949-9E34E8B2042E}" type="presParOf" srcId="{F14E83DD-1F05-4B47-9E1B-FAF0A1C6EFAD}" destId="{52A87224-4B03-4E82-8996-444A76906D32}" srcOrd="8"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AFFEDE4-76B6-4AAC-9081-B59B7585594E}"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5B0E50FF-80AB-415E-A90A-A6BBB34A6B46}">
      <dgm:prSet custT="1"/>
      <dgm:spPr/>
      <dgm:t>
        <a:bodyPr/>
        <a:lstStyle/>
        <a:p>
          <a:r>
            <a:rPr lang="en-US" sz="2000" b="0" i="0" dirty="0"/>
            <a:t>The SQL Assessment feature evaluates your SQL Server on Azure Virtual Machines (VMs) to identify possible performance issues and provide recommendations for indexing, statistics, deprecated features, missing trace flags, etc.</a:t>
          </a:r>
        </a:p>
      </dgm:t>
    </dgm:pt>
    <dgm:pt modelId="{3C80797B-FA1F-4963-A26B-FEAA0DD2EB2D}" type="parTrans" cxnId="{513CF9AE-7500-4102-ABE6-515BE4D847F7}">
      <dgm:prSet/>
      <dgm:spPr/>
      <dgm:t>
        <a:bodyPr/>
        <a:lstStyle/>
        <a:p>
          <a:endParaRPr lang="en-US"/>
        </a:p>
      </dgm:t>
    </dgm:pt>
    <dgm:pt modelId="{8DF7D7BC-0761-400F-B1A9-5A03E13854B8}" type="sibTrans" cxnId="{513CF9AE-7500-4102-ABE6-515BE4D847F7}">
      <dgm:prSet/>
      <dgm:spPr/>
      <dgm:t>
        <a:bodyPr/>
        <a:lstStyle/>
        <a:p>
          <a:endParaRPr lang="en-US"/>
        </a:p>
      </dgm:t>
    </dgm:pt>
    <dgm:pt modelId="{BCFBCB0A-6DEF-450B-87FB-618792624C03}">
      <dgm:prSet custT="1"/>
      <dgm:spPr/>
      <dgm:t>
        <a:bodyPr/>
        <a:lstStyle/>
        <a:p>
          <a:r>
            <a:rPr lang="en-US" sz="2000" b="0" i="0" dirty="0"/>
            <a:t>Results are uploaded to your </a:t>
          </a:r>
          <a:r>
            <a:rPr lang="en-US" sz="2000" b="0" i="0" dirty="0">
              <a:hlinkClick xmlns:r="http://schemas.openxmlformats.org/officeDocument/2006/relationships" r:id="rId1">
                <a:extLst>
                  <a:ext uri="{A12FA001-AC4F-418D-AE19-62706E023703}">
                    <ahyp:hlinkClr xmlns:ahyp="http://schemas.microsoft.com/office/drawing/2018/hyperlinkcolor" val="tx"/>
                  </a:ext>
                </a:extLst>
              </a:hlinkClick>
            </a:rPr>
            <a:t>Log Analytics workspace</a:t>
          </a:r>
          <a:r>
            <a:rPr lang="en-US" sz="2000" b="0" i="0" dirty="0"/>
            <a:t> using the Microsoft Monitoring Agent. </a:t>
          </a:r>
          <a:endParaRPr lang="en-US" sz="2000" dirty="0"/>
        </a:p>
      </dgm:t>
    </dgm:pt>
    <dgm:pt modelId="{99F41908-D16A-4C17-B10A-ECD0C67005D3}" type="parTrans" cxnId="{79B5935E-E5DC-49BF-884A-74D66372C54F}">
      <dgm:prSet/>
      <dgm:spPr/>
      <dgm:t>
        <a:bodyPr/>
        <a:lstStyle/>
        <a:p>
          <a:endParaRPr lang="en-US"/>
        </a:p>
      </dgm:t>
    </dgm:pt>
    <dgm:pt modelId="{51A3A4E7-29FF-4A42-AC61-BB901FFC60F6}" type="sibTrans" cxnId="{79B5935E-E5DC-49BF-884A-74D66372C54F}">
      <dgm:prSet/>
      <dgm:spPr/>
      <dgm:t>
        <a:bodyPr/>
        <a:lstStyle/>
        <a:p>
          <a:endParaRPr lang="en-US"/>
        </a:p>
      </dgm:t>
    </dgm:pt>
    <dgm:pt modelId="{639750BD-23DB-42A0-97C6-112CF6AFAB5B}">
      <dgm:prSet custT="1"/>
      <dgm:spPr/>
      <dgm:t>
        <a:bodyPr/>
        <a:lstStyle/>
        <a:p>
          <a:r>
            <a:rPr lang="en-US" sz="2000" b="0" i="0" dirty="0"/>
            <a:t>To use the SQL Assessment feature, you must have the following prerequisites:</a:t>
          </a:r>
          <a:endParaRPr lang="en-US" sz="2000" dirty="0"/>
        </a:p>
      </dgm:t>
    </dgm:pt>
    <dgm:pt modelId="{4FAE79C3-C49D-4640-B9AD-01354C6E83FB}" type="parTrans" cxnId="{A5BC8D62-9677-4627-A22E-FD5A226BF855}">
      <dgm:prSet/>
      <dgm:spPr/>
      <dgm:t>
        <a:bodyPr/>
        <a:lstStyle/>
        <a:p>
          <a:endParaRPr lang="en-US"/>
        </a:p>
      </dgm:t>
    </dgm:pt>
    <dgm:pt modelId="{FC7BD4DE-CAF8-48B4-961F-7D763B95EAF3}" type="sibTrans" cxnId="{A5BC8D62-9677-4627-A22E-FD5A226BF855}">
      <dgm:prSet/>
      <dgm:spPr/>
      <dgm:t>
        <a:bodyPr/>
        <a:lstStyle/>
        <a:p>
          <a:endParaRPr lang="en-US"/>
        </a:p>
      </dgm:t>
    </dgm:pt>
    <dgm:pt modelId="{244EA03F-72C3-4374-A5F9-665D55F1FE49}">
      <dgm:prSet custT="1"/>
      <dgm:spPr/>
      <dgm:t>
        <a:bodyPr/>
        <a:lstStyle/>
        <a:p>
          <a:pPr>
            <a:buFont typeface="Arial" panose="020B0604020202020204" pitchFamily="34" charset="0"/>
            <a:buChar char="•"/>
          </a:pPr>
          <a:r>
            <a:rPr lang="en-US" sz="1800" b="0" i="0" dirty="0">
              <a:solidFill>
                <a:schemeClr val="tx1"/>
              </a:solidFill>
            </a:rPr>
            <a:t>A </a:t>
          </a:r>
          <a:r>
            <a:rPr lang="en-US" sz="1800" b="0" i="0" dirty="0">
              <a:solidFill>
                <a:schemeClr val="tx1"/>
              </a:solidFill>
              <a:hlinkClick xmlns:r="http://schemas.openxmlformats.org/officeDocument/2006/relationships" r:id="rId1">
                <a:extLst>
                  <a:ext uri="{A12FA001-AC4F-418D-AE19-62706E023703}">
                    <ahyp:hlinkClr xmlns:ahyp="http://schemas.microsoft.com/office/drawing/2018/hyperlinkcolor" val="tx"/>
                  </a:ext>
                </a:extLst>
              </a:hlinkClick>
            </a:rPr>
            <a:t>Log Analytics workspace</a:t>
          </a:r>
          <a:r>
            <a:rPr lang="en-US" sz="1800" b="0" i="0" dirty="0">
              <a:solidFill>
                <a:schemeClr val="tx1"/>
              </a:solidFill>
            </a:rPr>
            <a:t> in the same subscription as your SQL Server VM</a:t>
          </a:r>
        </a:p>
      </dgm:t>
    </dgm:pt>
    <dgm:pt modelId="{9CE36FA3-AA32-4F48-9ED8-74CB07C9A61A}" type="parTrans" cxnId="{7E195DBE-B6FF-4EEE-873C-DC052D5A1510}">
      <dgm:prSet/>
      <dgm:spPr/>
      <dgm:t>
        <a:bodyPr/>
        <a:lstStyle/>
        <a:p>
          <a:endParaRPr lang="en-US"/>
        </a:p>
      </dgm:t>
    </dgm:pt>
    <dgm:pt modelId="{D394A121-A15A-49DC-BB65-BCC4BD934B2E}" type="sibTrans" cxnId="{7E195DBE-B6FF-4EEE-873C-DC052D5A1510}">
      <dgm:prSet/>
      <dgm:spPr/>
      <dgm:t>
        <a:bodyPr/>
        <a:lstStyle/>
        <a:p>
          <a:endParaRPr lang="en-US"/>
        </a:p>
      </dgm:t>
    </dgm:pt>
    <dgm:pt modelId="{C5980BE5-EE2D-45A4-A641-7BCB2837FD45}">
      <dgm:prSet custT="1"/>
      <dgm:spPr/>
      <dgm:t>
        <a:bodyPr/>
        <a:lstStyle/>
        <a:p>
          <a:pPr>
            <a:buFont typeface="Arial" panose="020B0604020202020204" pitchFamily="34" charset="0"/>
            <a:buChar char="•"/>
          </a:pPr>
          <a:r>
            <a:rPr lang="en-US" sz="1800" b="0" i="0" dirty="0">
              <a:solidFill>
                <a:schemeClr val="tx1"/>
              </a:solidFill>
            </a:rPr>
            <a:t>SQL Server needs to be 2012 or higher version.</a:t>
          </a:r>
        </a:p>
      </dgm:t>
    </dgm:pt>
    <dgm:pt modelId="{02F9C98F-2B58-447F-A956-40645C77C2B5}" type="parTrans" cxnId="{58840792-5527-45A9-A1FF-D4847D60487F}">
      <dgm:prSet/>
      <dgm:spPr/>
      <dgm:t>
        <a:bodyPr/>
        <a:lstStyle/>
        <a:p>
          <a:endParaRPr lang="en-US"/>
        </a:p>
      </dgm:t>
    </dgm:pt>
    <dgm:pt modelId="{7FA67ADF-BB14-4094-80B3-86E4714868B9}" type="sibTrans" cxnId="{58840792-5527-45A9-A1FF-D4847D60487F}">
      <dgm:prSet/>
      <dgm:spPr/>
      <dgm:t>
        <a:bodyPr/>
        <a:lstStyle/>
        <a:p>
          <a:endParaRPr lang="en-US"/>
        </a:p>
      </dgm:t>
    </dgm:pt>
    <dgm:pt modelId="{C978C354-FDE2-4305-B1C1-F82FC4652E9F}">
      <dgm:prSet custT="1"/>
      <dgm:spPr/>
      <dgm:t>
        <a:bodyPr/>
        <a:lstStyle/>
        <a:p>
          <a:r>
            <a:rPr lang="en-US" sz="2000" b="0" i="0" dirty="0"/>
            <a:t>Uses a large set of </a:t>
          </a:r>
          <a:r>
            <a:rPr lang="en-US" sz="2000" b="0" i="0" dirty="0">
              <a:hlinkClick xmlns:r="http://schemas.openxmlformats.org/officeDocument/2006/relationships" r:id="rId2">
                <a:extLst>
                  <a:ext uri="{A12FA001-AC4F-418D-AE19-62706E023703}">
                    <ahyp:hlinkClr xmlns:ahyp="http://schemas.microsoft.com/office/drawing/2018/hyperlinkcolor" val="tx"/>
                  </a:ext>
                </a:extLst>
              </a:hlinkClick>
            </a:rPr>
            <a:t>pre-defined rules</a:t>
          </a:r>
          <a:r>
            <a:rPr lang="en-US" sz="2000" b="0" i="0" dirty="0"/>
            <a:t> provided by the </a:t>
          </a:r>
          <a:r>
            <a:rPr lang="en-US" sz="2000" b="0" i="0" dirty="0">
              <a:hlinkClick xmlns:r="http://schemas.openxmlformats.org/officeDocument/2006/relationships" r:id="rId3">
                <a:extLst>
                  <a:ext uri="{A12FA001-AC4F-418D-AE19-62706E023703}">
                    <ahyp:hlinkClr xmlns:ahyp="http://schemas.microsoft.com/office/drawing/2018/hyperlinkcolor" val="tx"/>
                  </a:ext>
                </a:extLst>
              </a:hlinkClick>
            </a:rPr>
            <a:t>SQL Assessment API</a:t>
          </a:r>
          <a:r>
            <a:rPr lang="en-US" sz="2000" b="0" i="0" dirty="0"/>
            <a:t> to follow best practices. </a:t>
          </a:r>
          <a:endParaRPr lang="en-US" sz="2000" dirty="0"/>
        </a:p>
      </dgm:t>
    </dgm:pt>
    <dgm:pt modelId="{97D61449-35F1-4767-9AB5-5A1D6E05B38B}" type="parTrans" cxnId="{07EC01EB-3375-4365-BEB0-B38BB512DCC8}">
      <dgm:prSet/>
      <dgm:spPr/>
      <dgm:t>
        <a:bodyPr/>
        <a:lstStyle/>
        <a:p>
          <a:endParaRPr lang="en-US"/>
        </a:p>
      </dgm:t>
    </dgm:pt>
    <dgm:pt modelId="{D0E98830-8ED9-451B-8FD2-773BD90E5176}" type="sibTrans" cxnId="{07EC01EB-3375-4365-BEB0-B38BB512DCC8}">
      <dgm:prSet/>
      <dgm:spPr/>
      <dgm:t>
        <a:bodyPr/>
        <a:lstStyle/>
        <a:p>
          <a:endParaRPr lang="en-US"/>
        </a:p>
      </dgm:t>
    </dgm:pt>
    <dgm:pt modelId="{A94E00A0-C353-4EC5-AEA2-0C5E02398268}">
      <dgm:prSet custT="1"/>
      <dgm:spPr/>
      <dgm:t>
        <a:bodyPr/>
        <a:lstStyle/>
        <a:p>
          <a:pPr>
            <a:buFont typeface="Arial" panose="020B0604020202020204" pitchFamily="34" charset="0"/>
            <a:buChar char="•"/>
          </a:pPr>
          <a:r>
            <a:rPr lang="en-US" sz="1800" b="0" i="0" dirty="0">
              <a:solidFill>
                <a:schemeClr val="tx1"/>
              </a:solidFill>
            </a:rPr>
            <a:t>SQL Server VM must be registered with the </a:t>
          </a:r>
          <a:r>
            <a:rPr lang="en-US" sz="1800" b="0" i="0" dirty="0">
              <a:solidFill>
                <a:schemeClr val="tx1"/>
              </a:solidFill>
              <a:hlinkClick xmlns:r="http://schemas.openxmlformats.org/officeDocument/2006/relationships" r:id="rId4">
                <a:extLst>
                  <a:ext uri="{A12FA001-AC4F-418D-AE19-62706E023703}">
                    <ahyp:hlinkClr xmlns:ahyp="http://schemas.microsoft.com/office/drawing/2018/hyperlinkcolor" val="tx"/>
                  </a:ext>
                </a:extLst>
              </a:hlinkClick>
            </a:rPr>
            <a:t>SQL Server IaaS extension in full mode</a:t>
          </a:r>
          <a:r>
            <a:rPr lang="en-US" sz="1800" b="0" i="0" dirty="0">
              <a:solidFill>
                <a:schemeClr val="tx1"/>
              </a:solidFill>
            </a:rPr>
            <a:t>.</a:t>
          </a:r>
        </a:p>
      </dgm:t>
    </dgm:pt>
    <dgm:pt modelId="{7D8ADC12-23E6-48EF-8253-A2637A5E5451}" type="parTrans" cxnId="{6A673C52-8D43-4F32-B577-ED7481D03822}">
      <dgm:prSet/>
      <dgm:spPr/>
      <dgm:t>
        <a:bodyPr/>
        <a:lstStyle/>
        <a:p>
          <a:endParaRPr lang="en-US"/>
        </a:p>
      </dgm:t>
    </dgm:pt>
    <dgm:pt modelId="{1B0A63AB-A8D6-4D10-AE31-42DA9780A0AB}" type="sibTrans" cxnId="{6A673C52-8D43-4F32-B577-ED7481D03822}">
      <dgm:prSet/>
      <dgm:spPr/>
      <dgm:t>
        <a:bodyPr/>
        <a:lstStyle/>
        <a:p>
          <a:endParaRPr lang="en-US"/>
        </a:p>
      </dgm:t>
    </dgm:pt>
    <dgm:pt modelId="{F14E83DD-1F05-4B47-9E1B-FAF0A1C6EFAD}" type="pres">
      <dgm:prSet presAssocID="{8AFFEDE4-76B6-4AAC-9081-B59B7585594E}" presName="linear" presStyleCnt="0">
        <dgm:presLayoutVars>
          <dgm:animLvl val="lvl"/>
          <dgm:resizeHandles val="exact"/>
        </dgm:presLayoutVars>
      </dgm:prSet>
      <dgm:spPr/>
    </dgm:pt>
    <dgm:pt modelId="{38F27ED9-0099-45BC-BA4C-D70260A1B189}" type="pres">
      <dgm:prSet presAssocID="{5B0E50FF-80AB-415E-A90A-A6BBB34A6B46}" presName="parentText" presStyleLbl="node1" presStyleIdx="0" presStyleCnt="4" custScaleY="153261" custLinFactY="-14089" custLinFactNeighborY="-100000">
        <dgm:presLayoutVars>
          <dgm:chMax val="0"/>
          <dgm:bulletEnabled val="1"/>
        </dgm:presLayoutVars>
      </dgm:prSet>
      <dgm:spPr/>
    </dgm:pt>
    <dgm:pt modelId="{5B9E19D7-71A3-4F38-B68B-B112703ED8DE}" type="pres">
      <dgm:prSet presAssocID="{8DF7D7BC-0761-400F-B1A9-5A03E13854B8}" presName="spacer" presStyleCnt="0"/>
      <dgm:spPr/>
    </dgm:pt>
    <dgm:pt modelId="{CBBE6ED3-70A4-4C9F-8A9E-766AA60BA3DA}" type="pres">
      <dgm:prSet presAssocID="{C978C354-FDE2-4305-B1C1-F82FC4652E9F}" presName="parentText" presStyleLbl="node1" presStyleIdx="1" presStyleCnt="4" custLinFactY="-9197" custLinFactNeighborY="-100000">
        <dgm:presLayoutVars>
          <dgm:chMax val="0"/>
          <dgm:bulletEnabled val="1"/>
        </dgm:presLayoutVars>
      </dgm:prSet>
      <dgm:spPr/>
    </dgm:pt>
    <dgm:pt modelId="{B940BBB7-1304-44AA-ABB7-820E57551F0B}" type="pres">
      <dgm:prSet presAssocID="{D0E98830-8ED9-451B-8FD2-773BD90E5176}" presName="spacer" presStyleCnt="0"/>
      <dgm:spPr/>
    </dgm:pt>
    <dgm:pt modelId="{66BFE06A-6E07-4C19-BF04-C9073B8A61F9}" type="pres">
      <dgm:prSet presAssocID="{BCFBCB0A-6DEF-450B-87FB-618792624C03}" presName="parentText" presStyleLbl="node1" presStyleIdx="2" presStyleCnt="4" custScaleY="108397" custLinFactY="-4305" custLinFactNeighborY="-100000">
        <dgm:presLayoutVars>
          <dgm:chMax val="0"/>
          <dgm:bulletEnabled val="1"/>
        </dgm:presLayoutVars>
      </dgm:prSet>
      <dgm:spPr/>
    </dgm:pt>
    <dgm:pt modelId="{30284CB1-97C7-4FC9-B5C7-C0E8B65556E0}" type="pres">
      <dgm:prSet presAssocID="{51A3A4E7-29FF-4A42-AC61-BB901FFC60F6}" presName="spacer" presStyleCnt="0"/>
      <dgm:spPr/>
    </dgm:pt>
    <dgm:pt modelId="{B02791C9-A3D7-4346-8F9F-DBDB86BF209A}" type="pres">
      <dgm:prSet presAssocID="{639750BD-23DB-42A0-97C6-112CF6AFAB5B}" presName="parentText" presStyleLbl="node1" presStyleIdx="3" presStyleCnt="4" custLinFactNeighborY="-1292">
        <dgm:presLayoutVars>
          <dgm:chMax val="0"/>
          <dgm:bulletEnabled val="1"/>
        </dgm:presLayoutVars>
      </dgm:prSet>
      <dgm:spPr/>
    </dgm:pt>
    <dgm:pt modelId="{231FF9B0-088A-4D43-952D-C45480D26998}" type="pres">
      <dgm:prSet presAssocID="{639750BD-23DB-42A0-97C6-112CF6AFAB5B}" presName="childText" presStyleLbl="revTx" presStyleIdx="0" presStyleCnt="1" custScaleY="126611" custLinFactNeighborY="9291">
        <dgm:presLayoutVars>
          <dgm:bulletEnabled val="1"/>
        </dgm:presLayoutVars>
      </dgm:prSet>
      <dgm:spPr/>
    </dgm:pt>
  </dgm:ptLst>
  <dgm:cxnLst>
    <dgm:cxn modelId="{3BB93F27-6388-455C-B8CB-ACEE17588119}" type="presOf" srcId="{8AFFEDE4-76B6-4AAC-9081-B59B7585594E}" destId="{F14E83DD-1F05-4B47-9E1B-FAF0A1C6EFAD}" srcOrd="0" destOrd="0" presId="urn:microsoft.com/office/officeart/2005/8/layout/vList2"/>
    <dgm:cxn modelId="{1337403D-83B2-4175-B4B8-7FBE5372A123}" type="presOf" srcId="{244EA03F-72C3-4374-A5F9-665D55F1FE49}" destId="{231FF9B0-088A-4D43-952D-C45480D26998}" srcOrd="0" destOrd="1" presId="urn:microsoft.com/office/officeart/2005/8/layout/vList2"/>
    <dgm:cxn modelId="{79B5935E-E5DC-49BF-884A-74D66372C54F}" srcId="{8AFFEDE4-76B6-4AAC-9081-B59B7585594E}" destId="{BCFBCB0A-6DEF-450B-87FB-618792624C03}" srcOrd="2" destOrd="0" parTransId="{99F41908-D16A-4C17-B10A-ECD0C67005D3}" sibTransId="{51A3A4E7-29FF-4A42-AC61-BB901FFC60F6}"/>
    <dgm:cxn modelId="{A5BC8D62-9677-4627-A22E-FD5A226BF855}" srcId="{8AFFEDE4-76B6-4AAC-9081-B59B7585594E}" destId="{639750BD-23DB-42A0-97C6-112CF6AFAB5B}" srcOrd="3" destOrd="0" parTransId="{4FAE79C3-C49D-4640-B9AD-01354C6E83FB}" sibTransId="{FC7BD4DE-CAF8-48B4-961F-7D763B95EAF3}"/>
    <dgm:cxn modelId="{6A673C52-8D43-4F32-B577-ED7481D03822}" srcId="{639750BD-23DB-42A0-97C6-112CF6AFAB5B}" destId="{A94E00A0-C353-4EC5-AEA2-0C5E02398268}" srcOrd="0" destOrd="0" parTransId="{7D8ADC12-23E6-48EF-8253-A2637A5E5451}" sibTransId="{1B0A63AB-A8D6-4D10-AE31-42DA9780A0AB}"/>
    <dgm:cxn modelId="{635C9C74-C695-42CD-B262-1AE861A60F3A}" type="presOf" srcId="{C5980BE5-EE2D-45A4-A641-7BCB2837FD45}" destId="{231FF9B0-088A-4D43-952D-C45480D26998}" srcOrd="0" destOrd="2" presId="urn:microsoft.com/office/officeart/2005/8/layout/vList2"/>
    <dgm:cxn modelId="{C17AFA7D-A3F5-4D1A-877D-A60F787576C4}" type="presOf" srcId="{C978C354-FDE2-4305-B1C1-F82FC4652E9F}" destId="{CBBE6ED3-70A4-4C9F-8A9E-766AA60BA3DA}" srcOrd="0" destOrd="0" presId="urn:microsoft.com/office/officeart/2005/8/layout/vList2"/>
    <dgm:cxn modelId="{35F1F485-D4C5-4C8A-843F-EF41DC322C77}" type="presOf" srcId="{A94E00A0-C353-4EC5-AEA2-0C5E02398268}" destId="{231FF9B0-088A-4D43-952D-C45480D26998}" srcOrd="0" destOrd="0" presId="urn:microsoft.com/office/officeart/2005/8/layout/vList2"/>
    <dgm:cxn modelId="{58840792-5527-45A9-A1FF-D4847D60487F}" srcId="{639750BD-23DB-42A0-97C6-112CF6AFAB5B}" destId="{C5980BE5-EE2D-45A4-A641-7BCB2837FD45}" srcOrd="2" destOrd="0" parTransId="{02F9C98F-2B58-447F-A956-40645C77C2B5}" sibTransId="{7FA67ADF-BB14-4094-80B3-86E4714868B9}"/>
    <dgm:cxn modelId="{513CF9AE-7500-4102-ABE6-515BE4D847F7}" srcId="{8AFFEDE4-76B6-4AAC-9081-B59B7585594E}" destId="{5B0E50FF-80AB-415E-A90A-A6BBB34A6B46}" srcOrd="0" destOrd="0" parTransId="{3C80797B-FA1F-4963-A26B-FEAA0DD2EB2D}" sibTransId="{8DF7D7BC-0761-400F-B1A9-5A03E13854B8}"/>
    <dgm:cxn modelId="{3FAB62B4-B74F-437F-9415-1FE7304A37E7}" type="presOf" srcId="{5B0E50FF-80AB-415E-A90A-A6BBB34A6B46}" destId="{38F27ED9-0099-45BC-BA4C-D70260A1B189}" srcOrd="0" destOrd="0" presId="urn:microsoft.com/office/officeart/2005/8/layout/vList2"/>
    <dgm:cxn modelId="{7E195DBE-B6FF-4EEE-873C-DC052D5A1510}" srcId="{639750BD-23DB-42A0-97C6-112CF6AFAB5B}" destId="{244EA03F-72C3-4374-A5F9-665D55F1FE49}" srcOrd="1" destOrd="0" parTransId="{9CE36FA3-AA32-4F48-9ED8-74CB07C9A61A}" sibTransId="{D394A121-A15A-49DC-BB65-BCC4BD934B2E}"/>
    <dgm:cxn modelId="{24A1AAE9-1777-4AD6-A46A-51E3AE4C475A}" type="presOf" srcId="{BCFBCB0A-6DEF-450B-87FB-618792624C03}" destId="{66BFE06A-6E07-4C19-BF04-C9073B8A61F9}" srcOrd="0" destOrd="0" presId="urn:microsoft.com/office/officeart/2005/8/layout/vList2"/>
    <dgm:cxn modelId="{07EC01EB-3375-4365-BEB0-B38BB512DCC8}" srcId="{8AFFEDE4-76B6-4AAC-9081-B59B7585594E}" destId="{C978C354-FDE2-4305-B1C1-F82FC4652E9F}" srcOrd="1" destOrd="0" parTransId="{97D61449-35F1-4767-9AB5-5A1D6E05B38B}" sibTransId="{D0E98830-8ED9-451B-8FD2-773BD90E5176}"/>
    <dgm:cxn modelId="{5E039DF1-C0D8-438C-8B97-5006DF46EB59}" type="presOf" srcId="{639750BD-23DB-42A0-97C6-112CF6AFAB5B}" destId="{B02791C9-A3D7-4346-8F9F-DBDB86BF209A}" srcOrd="0" destOrd="0" presId="urn:microsoft.com/office/officeart/2005/8/layout/vList2"/>
    <dgm:cxn modelId="{FBC523AC-BDC6-4BE1-9636-1319175B9868}" type="presParOf" srcId="{F14E83DD-1F05-4B47-9E1B-FAF0A1C6EFAD}" destId="{38F27ED9-0099-45BC-BA4C-D70260A1B189}" srcOrd="0" destOrd="0" presId="urn:microsoft.com/office/officeart/2005/8/layout/vList2"/>
    <dgm:cxn modelId="{127B7F93-A624-4A25-9DD6-43BEE834B81E}" type="presParOf" srcId="{F14E83DD-1F05-4B47-9E1B-FAF0A1C6EFAD}" destId="{5B9E19D7-71A3-4F38-B68B-B112703ED8DE}" srcOrd="1" destOrd="0" presId="urn:microsoft.com/office/officeart/2005/8/layout/vList2"/>
    <dgm:cxn modelId="{CA3E7B0D-0CF6-4A11-89A0-A1073709E499}" type="presParOf" srcId="{F14E83DD-1F05-4B47-9E1B-FAF0A1C6EFAD}" destId="{CBBE6ED3-70A4-4C9F-8A9E-766AA60BA3DA}" srcOrd="2" destOrd="0" presId="urn:microsoft.com/office/officeart/2005/8/layout/vList2"/>
    <dgm:cxn modelId="{54C4F93E-FC1A-419D-9D49-55192402C7B7}" type="presParOf" srcId="{F14E83DD-1F05-4B47-9E1B-FAF0A1C6EFAD}" destId="{B940BBB7-1304-44AA-ABB7-820E57551F0B}" srcOrd="3" destOrd="0" presId="urn:microsoft.com/office/officeart/2005/8/layout/vList2"/>
    <dgm:cxn modelId="{A71EAEBE-4332-4C0A-BAA9-C3F91FAB408B}" type="presParOf" srcId="{F14E83DD-1F05-4B47-9E1B-FAF0A1C6EFAD}" destId="{66BFE06A-6E07-4C19-BF04-C9073B8A61F9}" srcOrd="4" destOrd="0" presId="urn:microsoft.com/office/officeart/2005/8/layout/vList2"/>
    <dgm:cxn modelId="{64E26010-7317-42FD-9764-51786EDC30FA}" type="presParOf" srcId="{F14E83DD-1F05-4B47-9E1B-FAF0A1C6EFAD}" destId="{30284CB1-97C7-4FC9-B5C7-C0E8B65556E0}" srcOrd="5" destOrd="0" presId="urn:microsoft.com/office/officeart/2005/8/layout/vList2"/>
    <dgm:cxn modelId="{A6AC3A9C-BB21-4332-9386-41B1D2012AD6}" type="presParOf" srcId="{F14E83DD-1F05-4B47-9E1B-FAF0A1C6EFAD}" destId="{B02791C9-A3D7-4346-8F9F-DBDB86BF209A}" srcOrd="6" destOrd="0" presId="urn:microsoft.com/office/officeart/2005/8/layout/vList2"/>
    <dgm:cxn modelId="{CECAEA68-E209-4781-9A5D-6773F003161A}" type="presParOf" srcId="{F14E83DD-1F05-4B47-9E1B-FAF0A1C6EFAD}" destId="{231FF9B0-088A-4D43-952D-C45480D26998}"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CCDC1D-1D26-4DF7-90DC-036F2479319D}">
      <dsp:nvSpPr>
        <dsp:cNvPr id="0" name=""/>
        <dsp:cNvSpPr/>
      </dsp:nvSpPr>
      <dsp:spPr>
        <a:xfrm>
          <a:off x="0" y="218295"/>
          <a:ext cx="10393424" cy="1067040"/>
        </a:xfrm>
        <a:prstGeom prst="round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b="0" i="0" kern="1200" baseline="0" dirty="0"/>
            <a:t>What are SQL IaaS Extensions?</a:t>
          </a:r>
          <a:endParaRPr lang="en-US" sz="3600" kern="1200" dirty="0"/>
        </a:p>
      </dsp:txBody>
      <dsp:txXfrm>
        <a:off x="52089" y="270384"/>
        <a:ext cx="10289246" cy="962862"/>
      </dsp:txXfrm>
    </dsp:sp>
    <dsp:sp modelId="{54130A14-0DE4-44B1-B9EC-80A3DCC50B7F}">
      <dsp:nvSpPr>
        <dsp:cNvPr id="0" name=""/>
        <dsp:cNvSpPr/>
      </dsp:nvSpPr>
      <dsp:spPr>
        <a:xfrm>
          <a:off x="0" y="1349302"/>
          <a:ext cx="10393424" cy="1067040"/>
        </a:xfrm>
        <a:prstGeom prst="round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t>What is the SQL Assessment Tool?</a:t>
          </a:r>
        </a:p>
      </dsp:txBody>
      <dsp:txXfrm>
        <a:off x="52089" y="1401391"/>
        <a:ext cx="10289246" cy="962862"/>
      </dsp:txXfrm>
    </dsp:sp>
    <dsp:sp modelId="{B71E38B3-5E14-40AF-B7A1-8EC8EFF8C325}">
      <dsp:nvSpPr>
        <dsp:cNvPr id="0" name=""/>
        <dsp:cNvSpPr/>
      </dsp:nvSpPr>
      <dsp:spPr>
        <a:xfrm>
          <a:off x="0" y="2481120"/>
          <a:ext cx="10393424" cy="1067040"/>
        </a:xfrm>
        <a:prstGeom prst="round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t>Demo: Reviewing SQL Assessment Results</a:t>
          </a:r>
        </a:p>
      </dsp:txBody>
      <dsp:txXfrm>
        <a:off x="52089" y="2533209"/>
        <a:ext cx="10289246" cy="962862"/>
      </dsp:txXfrm>
    </dsp:sp>
    <dsp:sp modelId="{E2743CF6-A306-4E6D-9045-E03190369147}">
      <dsp:nvSpPr>
        <dsp:cNvPr id="0" name=""/>
        <dsp:cNvSpPr/>
      </dsp:nvSpPr>
      <dsp:spPr>
        <a:xfrm>
          <a:off x="0" y="3612937"/>
          <a:ext cx="10393424" cy="1067040"/>
        </a:xfrm>
        <a:prstGeom prst="round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t>Questions?</a:t>
          </a:r>
        </a:p>
      </dsp:txBody>
      <dsp:txXfrm>
        <a:off x="52089" y="3665026"/>
        <a:ext cx="10289246" cy="9628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8AEDD0-4375-48B2-8642-76B72C15A2B2}">
      <dsp:nvSpPr>
        <dsp:cNvPr id="0" name=""/>
        <dsp:cNvSpPr/>
      </dsp:nvSpPr>
      <dsp:spPr>
        <a:xfrm>
          <a:off x="3989" y="21512"/>
          <a:ext cx="2399119" cy="6912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0" i="0" kern="1200" dirty="0">
              <a:latin typeface="+mn-lt"/>
            </a:rPr>
            <a:t>Features</a:t>
          </a:r>
          <a:endParaRPr lang="en-US" sz="1800" kern="1200" dirty="0">
            <a:latin typeface="+mn-lt"/>
          </a:endParaRPr>
        </a:p>
      </dsp:txBody>
      <dsp:txXfrm>
        <a:off x="3989" y="21512"/>
        <a:ext cx="2399119" cy="691200"/>
      </dsp:txXfrm>
    </dsp:sp>
    <dsp:sp modelId="{37CEDC0D-3E5E-4CC9-A379-AB0D19EC0E91}">
      <dsp:nvSpPr>
        <dsp:cNvPr id="0" name=""/>
        <dsp:cNvSpPr/>
      </dsp:nvSpPr>
      <dsp:spPr>
        <a:xfrm>
          <a:off x="3989" y="712712"/>
          <a:ext cx="2399119" cy="4348080"/>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kern="1200" dirty="0">
              <a:latin typeface="+mn-lt"/>
            </a:rPr>
            <a:t>The SQL Server IaaS Agent Extension runs on Azure VMs.</a:t>
          </a:r>
          <a:endParaRPr lang="en-US" sz="1600" kern="1200" dirty="0">
            <a:latin typeface="+mn-lt"/>
          </a:endParaRPr>
        </a:p>
        <a:p>
          <a:pPr marL="171450" lvl="1" indent="-171450" algn="l" defTabSz="711200">
            <a:lnSpc>
              <a:spcPct val="90000"/>
            </a:lnSpc>
            <a:spcBef>
              <a:spcPct val="0"/>
            </a:spcBef>
            <a:spcAft>
              <a:spcPct val="15000"/>
            </a:spcAft>
            <a:buChar char="•"/>
          </a:pPr>
          <a:endParaRPr lang="en-US" sz="1600" kern="1200" dirty="0">
            <a:latin typeface="+mn-lt"/>
          </a:endParaRPr>
        </a:p>
        <a:p>
          <a:pPr marL="171450" lvl="1" indent="-171450" algn="l" defTabSz="711200">
            <a:lnSpc>
              <a:spcPct val="90000"/>
            </a:lnSpc>
            <a:spcBef>
              <a:spcPct val="0"/>
            </a:spcBef>
            <a:spcAft>
              <a:spcPct val="15000"/>
            </a:spcAft>
            <a:buChar char="•"/>
          </a:pPr>
          <a:r>
            <a:rPr lang="en-US" sz="1600" b="0" kern="1200" dirty="0">
              <a:latin typeface="+mn-lt"/>
            </a:rPr>
            <a:t>Automates task like </a:t>
          </a:r>
          <a:r>
            <a:rPr lang="en-US" sz="1600" b="0" i="0" kern="1200" dirty="0">
              <a:latin typeface="+mn-lt"/>
            </a:rPr>
            <a:t>Backups and Patching.</a:t>
          </a:r>
          <a:endParaRPr lang="en-US" sz="1600" kern="1200" dirty="0">
            <a:latin typeface="+mn-lt"/>
          </a:endParaRPr>
        </a:p>
        <a:p>
          <a:pPr marL="171450" lvl="1" indent="-171450" algn="l" defTabSz="711200">
            <a:lnSpc>
              <a:spcPct val="90000"/>
            </a:lnSpc>
            <a:spcBef>
              <a:spcPct val="0"/>
            </a:spcBef>
            <a:spcAft>
              <a:spcPct val="15000"/>
            </a:spcAft>
            <a:buChar char="•"/>
          </a:pPr>
          <a:endParaRPr lang="en-US" sz="1600" kern="1200" dirty="0">
            <a:latin typeface="+mn-lt"/>
          </a:endParaRPr>
        </a:p>
        <a:p>
          <a:pPr marL="171450" lvl="1" indent="-171450" algn="l" defTabSz="711200">
            <a:lnSpc>
              <a:spcPct val="90000"/>
            </a:lnSpc>
            <a:spcBef>
              <a:spcPct val="0"/>
            </a:spcBef>
            <a:spcAft>
              <a:spcPct val="15000"/>
            </a:spcAft>
            <a:buChar char="•"/>
          </a:pPr>
          <a:r>
            <a:rPr lang="en-US" sz="1600" b="0" i="0" kern="1200" dirty="0">
              <a:latin typeface="+mn-lt"/>
            </a:rPr>
            <a:t>Unified experience in managing all of Azure SQL family.</a:t>
          </a:r>
          <a:endParaRPr lang="en-US" sz="1600" kern="1200" dirty="0">
            <a:latin typeface="+mn-lt"/>
          </a:endParaRPr>
        </a:p>
        <a:p>
          <a:pPr marL="171450" lvl="1" indent="-171450" algn="l" defTabSz="711200">
            <a:lnSpc>
              <a:spcPct val="90000"/>
            </a:lnSpc>
            <a:spcBef>
              <a:spcPct val="0"/>
            </a:spcBef>
            <a:spcAft>
              <a:spcPct val="15000"/>
            </a:spcAft>
            <a:buChar char="•"/>
          </a:pPr>
          <a:endParaRPr lang="en-US" sz="1600" kern="1200" dirty="0">
            <a:latin typeface="+mn-lt"/>
          </a:endParaRPr>
        </a:p>
        <a:p>
          <a:pPr marL="171450" lvl="1" indent="-171450" algn="l" defTabSz="711200">
            <a:lnSpc>
              <a:spcPct val="90000"/>
            </a:lnSpc>
            <a:spcBef>
              <a:spcPct val="0"/>
            </a:spcBef>
            <a:spcAft>
              <a:spcPct val="15000"/>
            </a:spcAft>
            <a:buChar char="•"/>
          </a:pPr>
          <a:r>
            <a:rPr lang="en-US" sz="1600" b="0" i="0" kern="1200" dirty="0">
              <a:latin typeface="+mn-lt"/>
            </a:rPr>
            <a:t>Enables customers to adopt PaaS-like capabilities with IaaS-based SQL Servers at no additional charge.  </a:t>
          </a:r>
          <a:endParaRPr lang="en-US" sz="1600" kern="1200" dirty="0">
            <a:latin typeface="+mn-lt"/>
          </a:endParaRPr>
        </a:p>
      </dsp:txBody>
      <dsp:txXfrm>
        <a:off x="3989" y="712712"/>
        <a:ext cx="2399119" cy="4348080"/>
      </dsp:txXfrm>
    </dsp:sp>
    <dsp:sp modelId="{E6FFD6F6-C5EC-4151-8B05-B0C3CD5423C6}">
      <dsp:nvSpPr>
        <dsp:cNvPr id="0" name=""/>
        <dsp:cNvSpPr/>
      </dsp:nvSpPr>
      <dsp:spPr>
        <a:xfrm>
          <a:off x="2738985" y="21512"/>
          <a:ext cx="2399119" cy="6912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mn-lt"/>
            </a:rPr>
            <a:t>Registration</a:t>
          </a:r>
        </a:p>
      </dsp:txBody>
      <dsp:txXfrm>
        <a:off x="2738985" y="21512"/>
        <a:ext cx="2399119" cy="691200"/>
      </dsp:txXfrm>
    </dsp:sp>
    <dsp:sp modelId="{8C9C7A0F-F5FB-4586-B1D5-5DBD0C2355E4}">
      <dsp:nvSpPr>
        <dsp:cNvPr id="0" name=""/>
        <dsp:cNvSpPr/>
      </dsp:nvSpPr>
      <dsp:spPr>
        <a:xfrm>
          <a:off x="2738985" y="712712"/>
          <a:ext cx="2399119" cy="4348080"/>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kern="1200" dirty="0">
              <a:latin typeface="+mn-lt"/>
            </a:rPr>
            <a:t>Deploying a SQL Server VM Azure Marketplace image through the Azure portal automatically registers the SQL Server VM with the resource provider </a:t>
          </a:r>
          <a:endParaRPr lang="en-US" sz="1600" kern="1200" dirty="0">
            <a:latin typeface="+mn-lt"/>
          </a:endParaRPr>
        </a:p>
        <a:p>
          <a:pPr marL="171450" lvl="1" indent="-171450" algn="l" defTabSz="711200">
            <a:lnSpc>
              <a:spcPct val="90000"/>
            </a:lnSpc>
            <a:spcBef>
              <a:spcPct val="0"/>
            </a:spcBef>
            <a:spcAft>
              <a:spcPct val="15000"/>
            </a:spcAft>
            <a:buChar char="•"/>
          </a:pPr>
          <a:endParaRPr lang="en-US" sz="1600" kern="1200" dirty="0">
            <a:latin typeface="+mn-lt"/>
          </a:endParaRPr>
        </a:p>
        <a:p>
          <a:pPr marL="171450" lvl="1" indent="-171450" algn="l" defTabSz="711200">
            <a:lnSpc>
              <a:spcPct val="90000"/>
            </a:lnSpc>
            <a:spcBef>
              <a:spcPct val="0"/>
            </a:spcBef>
            <a:spcAft>
              <a:spcPct val="15000"/>
            </a:spcAft>
            <a:buChar char="•"/>
          </a:pPr>
          <a:r>
            <a:rPr lang="en-US" sz="1600" b="0" kern="1200" dirty="0">
              <a:latin typeface="+mn-lt"/>
            </a:rPr>
            <a:t>Self-installs of SQL Server on an Azure virtual machine will need to register the SQL Server VM to install the SQL Server IaaS Agent Extension.</a:t>
          </a:r>
          <a:endParaRPr lang="en-US" sz="1600" kern="1200" dirty="0">
            <a:latin typeface="+mn-lt"/>
          </a:endParaRPr>
        </a:p>
      </dsp:txBody>
      <dsp:txXfrm>
        <a:off x="2738985" y="712712"/>
        <a:ext cx="2399119" cy="4348080"/>
      </dsp:txXfrm>
    </dsp:sp>
    <dsp:sp modelId="{6AC3BB85-008D-469E-B806-47161618578B}">
      <dsp:nvSpPr>
        <dsp:cNvPr id="0" name=""/>
        <dsp:cNvSpPr/>
      </dsp:nvSpPr>
      <dsp:spPr>
        <a:xfrm>
          <a:off x="5473981" y="21512"/>
          <a:ext cx="2399119" cy="6912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mn-lt"/>
            </a:rPr>
            <a:t>Licensing</a:t>
          </a:r>
        </a:p>
      </dsp:txBody>
      <dsp:txXfrm>
        <a:off x="5473981" y="21512"/>
        <a:ext cx="2399119" cy="691200"/>
      </dsp:txXfrm>
    </dsp:sp>
    <dsp:sp modelId="{F132F62C-0F13-4907-B789-048942F93BA7}">
      <dsp:nvSpPr>
        <dsp:cNvPr id="0" name=""/>
        <dsp:cNvSpPr/>
      </dsp:nvSpPr>
      <dsp:spPr>
        <a:xfrm>
          <a:off x="5473981" y="712712"/>
          <a:ext cx="2399119" cy="4348080"/>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kern="1200" noProof="0" dirty="0">
              <a:effectLst/>
              <a:latin typeface="+mn-lt"/>
              <a:ea typeface="+mn-ea"/>
              <a:cs typeface="+mn-cs"/>
            </a:rPr>
            <a:t>Self-installed VMs with IaaS extensions can be easily converted to </a:t>
          </a:r>
          <a:r>
            <a:rPr lang="en-US" sz="1600" b="0" kern="1200" noProof="0" dirty="0" err="1">
              <a:effectLst/>
              <a:latin typeface="+mn-lt"/>
              <a:ea typeface="+mn-ea"/>
              <a:cs typeface="+mn-cs"/>
            </a:rPr>
            <a:t>PayGo</a:t>
          </a:r>
          <a:r>
            <a:rPr lang="en-US" sz="1600" b="0" kern="1200" noProof="0" dirty="0">
              <a:effectLst/>
              <a:latin typeface="+mn-lt"/>
              <a:ea typeface="+mn-ea"/>
              <a:cs typeface="+mn-cs"/>
            </a:rPr>
            <a:t> images.</a:t>
          </a:r>
          <a:endParaRPr lang="en-US" sz="1600" kern="1200" dirty="0">
            <a:latin typeface="+mn-lt"/>
          </a:endParaRPr>
        </a:p>
        <a:p>
          <a:pPr marL="171450" lvl="1" indent="-171450" algn="l" defTabSz="711200">
            <a:lnSpc>
              <a:spcPct val="90000"/>
            </a:lnSpc>
            <a:spcBef>
              <a:spcPct val="0"/>
            </a:spcBef>
            <a:spcAft>
              <a:spcPct val="15000"/>
            </a:spcAft>
            <a:buChar char="•"/>
          </a:pPr>
          <a:endParaRPr lang="en-US" sz="1600" kern="1200" dirty="0">
            <a:latin typeface="+mn-lt"/>
          </a:endParaRPr>
        </a:p>
        <a:p>
          <a:pPr marL="171450" lvl="1" indent="-171450" algn="l" defTabSz="711200">
            <a:lnSpc>
              <a:spcPct val="90000"/>
            </a:lnSpc>
            <a:spcBef>
              <a:spcPct val="0"/>
            </a:spcBef>
            <a:spcAft>
              <a:spcPct val="15000"/>
            </a:spcAft>
            <a:buClrTx/>
            <a:buSzTx/>
            <a:buFont typeface="Arial" panose="020B0604020202020204" pitchFamily="34" charset="0"/>
            <a:buChar char="•"/>
          </a:pPr>
          <a:r>
            <a:rPr lang="en-US" sz="1600" b="0" kern="1200" noProof="0" dirty="0">
              <a:effectLst/>
              <a:latin typeface="+mn-lt"/>
              <a:ea typeface="+mn-ea"/>
              <a:cs typeface="+mn-cs"/>
            </a:rPr>
            <a:t>Save money by converting variable workloads with Software Assurance to </a:t>
          </a:r>
          <a:r>
            <a:rPr lang="en-US" sz="1600" b="0" kern="1200" noProof="0" dirty="0" err="1">
              <a:effectLst/>
              <a:latin typeface="+mn-lt"/>
              <a:ea typeface="+mn-ea"/>
              <a:cs typeface="+mn-cs"/>
            </a:rPr>
            <a:t>PayGo</a:t>
          </a:r>
          <a:r>
            <a:rPr lang="en-US" sz="1600" b="0" kern="1200" noProof="0" dirty="0">
              <a:effectLst/>
              <a:latin typeface="+mn-lt"/>
              <a:ea typeface="+mn-ea"/>
              <a:cs typeface="+mn-cs"/>
            </a:rPr>
            <a:t> images.</a:t>
          </a:r>
          <a:endParaRPr lang="en-US" sz="1600" kern="1200" dirty="0">
            <a:latin typeface="+mn-lt"/>
          </a:endParaRPr>
        </a:p>
      </dsp:txBody>
      <dsp:txXfrm>
        <a:off x="5473981" y="712712"/>
        <a:ext cx="2399119" cy="4348080"/>
      </dsp:txXfrm>
    </dsp:sp>
    <dsp:sp modelId="{9D337215-EB4E-4E2C-A8F4-3B3DBFBD19A8}">
      <dsp:nvSpPr>
        <dsp:cNvPr id="0" name=""/>
        <dsp:cNvSpPr/>
      </dsp:nvSpPr>
      <dsp:spPr>
        <a:xfrm>
          <a:off x="8208977" y="21512"/>
          <a:ext cx="2399119" cy="6912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mn-lt"/>
            </a:rPr>
            <a:t>Compliance</a:t>
          </a:r>
        </a:p>
      </dsp:txBody>
      <dsp:txXfrm>
        <a:off x="8208977" y="21512"/>
        <a:ext cx="2399119" cy="691200"/>
      </dsp:txXfrm>
    </dsp:sp>
    <dsp:sp modelId="{474BFD65-7145-4C47-8BBE-91FBD6D2E81C}">
      <dsp:nvSpPr>
        <dsp:cNvPr id="0" name=""/>
        <dsp:cNvSpPr/>
      </dsp:nvSpPr>
      <dsp:spPr>
        <a:xfrm>
          <a:off x="8208977" y="712712"/>
          <a:ext cx="2399119" cy="4348080"/>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lr>
              <a:schemeClr val="accent1"/>
            </a:buClr>
            <a:buSzTx/>
            <a:buFont typeface="Arial" panose="020B0604020202020204" pitchFamily="34" charset="0"/>
            <a:buChar char="•"/>
          </a:pPr>
          <a:r>
            <a:rPr kumimoji="0" lang="en-US" sz="1600" b="0" i="0" u="none" strike="noStrike" kern="1200" cap="none" spc="0" normalizeH="0" baseline="0" noProof="0" dirty="0">
              <a:ln/>
              <a:effectLst/>
              <a:uLnTx/>
              <a:uFillTx/>
              <a:latin typeface="+mn-lt"/>
              <a:ea typeface="+mn-ea"/>
              <a:cs typeface="+mn-cs"/>
            </a:rPr>
            <a:t>Self-installed VMs with IaaS extension automatically indicate usage of Azure Hybrid Benefit. </a:t>
          </a:r>
          <a:endParaRPr lang="en-US" sz="1600" kern="1200" dirty="0">
            <a:latin typeface="+mn-lt"/>
          </a:endParaRPr>
        </a:p>
        <a:p>
          <a:pPr marL="171450" lvl="1" indent="-171450" algn="l" defTabSz="711200">
            <a:lnSpc>
              <a:spcPct val="90000"/>
            </a:lnSpc>
            <a:spcBef>
              <a:spcPct val="0"/>
            </a:spcBef>
            <a:spcAft>
              <a:spcPct val="15000"/>
            </a:spcAft>
            <a:buClr>
              <a:schemeClr val="accent1"/>
            </a:buClr>
            <a:buSzTx/>
            <a:buFont typeface="Arial" panose="020B0604020202020204" pitchFamily="34" charset="0"/>
            <a:buChar char="•"/>
          </a:pPr>
          <a:endParaRPr lang="en-US" sz="1600" kern="1200" dirty="0">
            <a:latin typeface="+mn-lt"/>
          </a:endParaRPr>
        </a:p>
        <a:p>
          <a:pPr marL="171450" lvl="1" indent="-171450" algn="l" defTabSz="711200">
            <a:lnSpc>
              <a:spcPct val="90000"/>
            </a:lnSpc>
            <a:spcBef>
              <a:spcPct val="0"/>
            </a:spcBef>
            <a:spcAft>
              <a:spcPct val="15000"/>
            </a:spcAft>
            <a:buClr>
              <a:schemeClr val="accent1"/>
            </a:buClr>
            <a:buSzTx/>
            <a:buFont typeface="Arial" panose="020B0604020202020204" pitchFamily="34" charset="0"/>
            <a:buChar char="•"/>
          </a:pPr>
          <a:r>
            <a:rPr kumimoji="0" lang="en-US" sz="1600" b="0" i="0" u="none" strike="noStrike" kern="1200" cap="none" spc="0" normalizeH="0" baseline="0" noProof="0" dirty="0">
              <a:ln/>
              <a:effectLst/>
              <a:uLnTx/>
              <a:uFillTx/>
              <a:latin typeface="+mn-lt"/>
              <a:ea typeface="+mn-ea"/>
              <a:cs typeface="+mn-cs"/>
            </a:rPr>
            <a:t>Ensure compliance with Azure terms and conditions without any extra effort.</a:t>
          </a:r>
          <a:endParaRPr lang="en-US" sz="1600" kern="1200" dirty="0">
            <a:latin typeface="+mn-lt"/>
          </a:endParaRPr>
        </a:p>
      </dsp:txBody>
      <dsp:txXfrm>
        <a:off x="8208977" y="712712"/>
        <a:ext cx="2399119" cy="43480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C0B90A-3F65-45B1-85C4-358FB87EAE82}">
      <dsp:nvSpPr>
        <dsp:cNvPr id="0" name=""/>
        <dsp:cNvSpPr/>
      </dsp:nvSpPr>
      <dsp:spPr>
        <a:xfrm>
          <a:off x="0" y="54628"/>
          <a:ext cx="6096000" cy="9547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baseline="0" dirty="0"/>
            <a:t>Automatic SQL Server VM registration button enables SQL IaaS Extensions features for all SQL VMs within a given subscription automatically.</a:t>
          </a:r>
          <a:endParaRPr lang="en-US" sz="1600" kern="1200" dirty="0"/>
        </a:p>
      </dsp:txBody>
      <dsp:txXfrm>
        <a:off x="46606" y="101234"/>
        <a:ext cx="6002788" cy="861508"/>
      </dsp:txXfrm>
    </dsp:sp>
    <dsp:sp modelId="{8FF79F79-9276-4DA1-8BB3-194B2E3CD55F}">
      <dsp:nvSpPr>
        <dsp:cNvPr id="0" name=""/>
        <dsp:cNvSpPr/>
      </dsp:nvSpPr>
      <dsp:spPr>
        <a:xfrm>
          <a:off x="0" y="1055428"/>
          <a:ext cx="6096000" cy="9547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baseline="0"/>
            <a:t>Activation will require consent of the person who performs activation.</a:t>
          </a:r>
          <a:endParaRPr lang="en-US" sz="1600" kern="1200"/>
        </a:p>
      </dsp:txBody>
      <dsp:txXfrm>
        <a:off x="46606" y="1102034"/>
        <a:ext cx="6002788" cy="861508"/>
      </dsp:txXfrm>
    </dsp:sp>
    <dsp:sp modelId="{B1DDCABE-2E6F-47DF-BE60-99A8F92DA279}">
      <dsp:nvSpPr>
        <dsp:cNvPr id="0" name=""/>
        <dsp:cNvSpPr/>
      </dsp:nvSpPr>
      <dsp:spPr>
        <a:xfrm>
          <a:off x="0" y="2056228"/>
          <a:ext cx="6096000" cy="9547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baseline="0" dirty="0"/>
            <a:t>Microsoft will not use this data for licensing audits without customer’s advance consent.</a:t>
          </a:r>
          <a:endParaRPr lang="en-US" sz="1600" kern="1200" dirty="0"/>
        </a:p>
      </dsp:txBody>
      <dsp:txXfrm>
        <a:off x="46606" y="2102834"/>
        <a:ext cx="6002788" cy="861508"/>
      </dsp:txXfrm>
    </dsp:sp>
    <dsp:sp modelId="{A8846AFB-13E1-4783-8858-B12EE4ED42AE}">
      <dsp:nvSpPr>
        <dsp:cNvPr id="0" name=""/>
        <dsp:cNvSpPr/>
      </dsp:nvSpPr>
      <dsp:spPr>
        <a:xfrm>
          <a:off x="0" y="3057028"/>
          <a:ext cx="6096000" cy="9547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baseline="0" dirty="0"/>
            <a:t>The SQL IaaS extensions will become active for all SQL Server VMs, and the features of lightweight mode will be activated within 24 hours after the activation.</a:t>
          </a:r>
          <a:endParaRPr lang="en-US" sz="1600" kern="1200" dirty="0"/>
        </a:p>
      </dsp:txBody>
      <dsp:txXfrm>
        <a:off x="46606" y="3103634"/>
        <a:ext cx="6002788" cy="861508"/>
      </dsp:txXfrm>
    </dsp:sp>
    <dsp:sp modelId="{52A87224-4B03-4E82-8996-444A76906D32}">
      <dsp:nvSpPr>
        <dsp:cNvPr id="0" name=""/>
        <dsp:cNvSpPr/>
      </dsp:nvSpPr>
      <dsp:spPr>
        <a:xfrm>
          <a:off x="0" y="4057828"/>
          <a:ext cx="6096000" cy="9547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baseline="0" dirty="0"/>
            <a:t>Registering extension in full mode does not require restart of the server.</a:t>
          </a:r>
          <a:endParaRPr lang="en-US" sz="1600" kern="1200" dirty="0"/>
        </a:p>
      </dsp:txBody>
      <dsp:txXfrm>
        <a:off x="46606" y="4104434"/>
        <a:ext cx="6002788" cy="86150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F27ED9-0099-45BC-BA4C-D70260A1B189}">
      <dsp:nvSpPr>
        <dsp:cNvPr id="0" name=""/>
        <dsp:cNvSpPr/>
      </dsp:nvSpPr>
      <dsp:spPr>
        <a:xfrm>
          <a:off x="0" y="40126"/>
          <a:ext cx="11099259" cy="132023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The SQL Assessment feature evaluates your SQL Server on Azure Virtual Machines (VMs) to identify possible performance issues and provide recommendations for indexing, statistics, deprecated features, missing trace flags, etc.</a:t>
          </a:r>
        </a:p>
      </dsp:txBody>
      <dsp:txXfrm>
        <a:off x="64448" y="104574"/>
        <a:ext cx="10970363" cy="1191336"/>
      </dsp:txXfrm>
    </dsp:sp>
    <dsp:sp modelId="{CBBE6ED3-70A4-4C9F-8A9E-766AA60BA3DA}">
      <dsp:nvSpPr>
        <dsp:cNvPr id="0" name=""/>
        <dsp:cNvSpPr/>
      </dsp:nvSpPr>
      <dsp:spPr>
        <a:xfrm>
          <a:off x="0" y="1413767"/>
          <a:ext cx="11099259" cy="861427"/>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Uses a large set of </a:t>
          </a:r>
          <a:r>
            <a:rPr lang="en-US" sz="2000" b="0" i="0" kern="1200" dirty="0">
              <a:hlinkClick xmlns:r="http://schemas.openxmlformats.org/officeDocument/2006/relationships" r:id="rId1">
                <a:extLst>
                  <a:ext uri="{A12FA001-AC4F-418D-AE19-62706E023703}">
                    <ahyp:hlinkClr xmlns:ahyp="http://schemas.microsoft.com/office/drawing/2018/hyperlinkcolor" val="tx"/>
                  </a:ext>
                </a:extLst>
              </a:hlinkClick>
            </a:rPr>
            <a:t>pre-defined rules</a:t>
          </a:r>
          <a:r>
            <a:rPr lang="en-US" sz="2000" b="0" i="0" kern="1200" dirty="0"/>
            <a:t> provided by the </a:t>
          </a:r>
          <a:r>
            <a:rPr lang="en-US" sz="2000" b="0" i="0" kern="1200" dirty="0">
              <a:hlinkClick xmlns:r="http://schemas.openxmlformats.org/officeDocument/2006/relationships" r:id="rId2">
                <a:extLst>
                  <a:ext uri="{A12FA001-AC4F-418D-AE19-62706E023703}">
                    <ahyp:hlinkClr xmlns:ahyp="http://schemas.microsoft.com/office/drawing/2018/hyperlinkcolor" val="tx"/>
                  </a:ext>
                </a:extLst>
              </a:hlinkClick>
            </a:rPr>
            <a:t>SQL Assessment API</a:t>
          </a:r>
          <a:r>
            <a:rPr lang="en-US" sz="2000" b="0" i="0" kern="1200" dirty="0"/>
            <a:t> to follow best practices. </a:t>
          </a:r>
          <a:endParaRPr lang="en-US" sz="2000" kern="1200" dirty="0"/>
        </a:p>
      </dsp:txBody>
      <dsp:txXfrm>
        <a:off x="42051" y="1455818"/>
        <a:ext cx="11015157" cy="777325"/>
      </dsp:txXfrm>
    </dsp:sp>
    <dsp:sp modelId="{66BFE06A-6E07-4C19-BF04-C9073B8A61F9}">
      <dsp:nvSpPr>
        <dsp:cNvPr id="0" name=""/>
        <dsp:cNvSpPr/>
      </dsp:nvSpPr>
      <dsp:spPr>
        <a:xfrm>
          <a:off x="0" y="2328603"/>
          <a:ext cx="11099259" cy="93376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Results are uploaded to your </a:t>
          </a:r>
          <a:r>
            <a:rPr lang="en-US" sz="2000" b="0" i="0" kern="1200" dirty="0">
              <a:hlinkClick xmlns:r="http://schemas.openxmlformats.org/officeDocument/2006/relationships" r:id="rId3">
                <a:extLst>
                  <a:ext uri="{A12FA001-AC4F-418D-AE19-62706E023703}">
                    <ahyp:hlinkClr xmlns:ahyp="http://schemas.microsoft.com/office/drawing/2018/hyperlinkcolor" val="tx"/>
                  </a:ext>
                </a:extLst>
              </a:hlinkClick>
            </a:rPr>
            <a:t>Log Analytics workspace</a:t>
          </a:r>
          <a:r>
            <a:rPr lang="en-US" sz="2000" b="0" i="0" kern="1200" dirty="0"/>
            <a:t> using the Microsoft Monitoring Agent. </a:t>
          </a:r>
          <a:endParaRPr lang="en-US" sz="2000" kern="1200" dirty="0"/>
        </a:p>
      </dsp:txBody>
      <dsp:txXfrm>
        <a:off x="45582" y="2374185"/>
        <a:ext cx="11008095" cy="842597"/>
      </dsp:txXfrm>
    </dsp:sp>
    <dsp:sp modelId="{B02791C9-A3D7-4346-8F9F-DBDB86BF209A}">
      <dsp:nvSpPr>
        <dsp:cNvPr id="0" name=""/>
        <dsp:cNvSpPr/>
      </dsp:nvSpPr>
      <dsp:spPr>
        <a:xfrm>
          <a:off x="0" y="3311939"/>
          <a:ext cx="11099259" cy="861427"/>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To use the SQL Assessment feature, you must have the following prerequisites:</a:t>
          </a:r>
          <a:endParaRPr lang="en-US" sz="2000" kern="1200" dirty="0"/>
        </a:p>
      </dsp:txBody>
      <dsp:txXfrm>
        <a:off x="42051" y="3353990"/>
        <a:ext cx="11015157" cy="777325"/>
      </dsp:txXfrm>
    </dsp:sp>
    <dsp:sp modelId="{231FF9B0-088A-4D43-952D-C45480D26998}">
      <dsp:nvSpPr>
        <dsp:cNvPr id="0" name=""/>
        <dsp:cNvSpPr/>
      </dsp:nvSpPr>
      <dsp:spPr>
        <a:xfrm>
          <a:off x="0" y="4263447"/>
          <a:ext cx="11099259" cy="9843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401" tIns="22860" rIns="128016" bIns="22860" numCol="1" spcCol="1270" anchor="t" anchorCtr="0">
          <a:noAutofit/>
        </a:bodyPr>
        <a:lstStyle/>
        <a:p>
          <a:pPr marL="171450" lvl="1" indent="-171450" algn="l" defTabSz="800100">
            <a:lnSpc>
              <a:spcPct val="90000"/>
            </a:lnSpc>
            <a:spcBef>
              <a:spcPct val="0"/>
            </a:spcBef>
            <a:spcAft>
              <a:spcPct val="20000"/>
            </a:spcAft>
            <a:buFont typeface="Arial" panose="020B0604020202020204" pitchFamily="34" charset="0"/>
            <a:buChar char="•"/>
          </a:pPr>
          <a:r>
            <a:rPr lang="en-US" sz="1800" b="0" i="0" kern="1200" dirty="0">
              <a:solidFill>
                <a:schemeClr val="tx1"/>
              </a:solidFill>
            </a:rPr>
            <a:t>SQL Server VM must be registered with the </a:t>
          </a:r>
          <a:r>
            <a:rPr lang="en-US" sz="1800" b="0" i="0" kern="1200" dirty="0">
              <a:solidFill>
                <a:schemeClr val="tx1"/>
              </a:solidFill>
              <a:hlinkClick xmlns:r="http://schemas.openxmlformats.org/officeDocument/2006/relationships" r:id="rId4">
                <a:extLst>
                  <a:ext uri="{A12FA001-AC4F-418D-AE19-62706E023703}">
                    <ahyp:hlinkClr xmlns:ahyp="http://schemas.microsoft.com/office/drawing/2018/hyperlinkcolor" val="tx"/>
                  </a:ext>
                </a:extLst>
              </a:hlinkClick>
            </a:rPr>
            <a:t>SQL Server IaaS extension in full mode</a:t>
          </a:r>
          <a:r>
            <a:rPr lang="en-US" sz="1800" b="0" i="0" kern="1200" dirty="0">
              <a:solidFill>
                <a:schemeClr val="tx1"/>
              </a:solidFill>
            </a:rPr>
            <a:t>.</a:t>
          </a:r>
        </a:p>
        <a:p>
          <a:pPr marL="171450" lvl="1" indent="-171450" algn="l" defTabSz="800100">
            <a:lnSpc>
              <a:spcPct val="90000"/>
            </a:lnSpc>
            <a:spcBef>
              <a:spcPct val="0"/>
            </a:spcBef>
            <a:spcAft>
              <a:spcPct val="20000"/>
            </a:spcAft>
            <a:buFont typeface="Arial" panose="020B0604020202020204" pitchFamily="34" charset="0"/>
            <a:buChar char="•"/>
          </a:pPr>
          <a:r>
            <a:rPr lang="en-US" sz="1800" b="0" i="0" kern="1200" dirty="0">
              <a:solidFill>
                <a:schemeClr val="tx1"/>
              </a:solidFill>
            </a:rPr>
            <a:t>A </a:t>
          </a:r>
          <a:r>
            <a:rPr lang="en-US" sz="1800" b="0" i="0" kern="1200" dirty="0">
              <a:solidFill>
                <a:schemeClr val="tx1"/>
              </a:solidFill>
              <a:hlinkClick xmlns:r="http://schemas.openxmlformats.org/officeDocument/2006/relationships" r:id="rId3">
                <a:extLst>
                  <a:ext uri="{A12FA001-AC4F-418D-AE19-62706E023703}">
                    <ahyp:hlinkClr xmlns:ahyp="http://schemas.microsoft.com/office/drawing/2018/hyperlinkcolor" val="tx"/>
                  </a:ext>
                </a:extLst>
              </a:hlinkClick>
            </a:rPr>
            <a:t>Log Analytics workspace</a:t>
          </a:r>
          <a:r>
            <a:rPr lang="en-US" sz="1800" b="0" i="0" kern="1200" dirty="0">
              <a:solidFill>
                <a:schemeClr val="tx1"/>
              </a:solidFill>
            </a:rPr>
            <a:t> in the same subscription as your SQL Server VM</a:t>
          </a:r>
        </a:p>
        <a:p>
          <a:pPr marL="171450" lvl="1" indent="-171450" algn="l" defTabSz="800100">
            <a:lnSpc>
              <a:spcPct val="90000"/>
            </a:lnSpc>
            <a:spcBef>
              <a:spcPct val="0"/>
            </a:spcBef>
            <a:spcAft>
              <a:spcPct val="20000"/>
            </a:spcAft>
            <a:buFont typeface="Arial" panose="020B0604020202020204" pitchFamily="34" charset="0"/>
            <a:buChar char="•"/>
          </a:pPr>
          <a:r>
            <a:rPr lang="en-US" sz="1800" b="0" i="0" kern="1200" dirty="0">
              <a:solidFill>
                <a:schemeClr val="tx1"/>
              </a:solidFill>
            </a:rPr>
            <a:t>SQL Server needs to be 2012 or higher version.</a:t>
          </a:r>
        </a:p>
      </dsp:txBody>
      <dsp:txXfrm>
        <a:off x="0" y="4263447"/>
        <a:ext cx="11099259" cy="98431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CFBA6064-FDE0-48E8-9405-22609F48ED19}" type="datetimeFigureOut">
              <a:rPr lang="en-US" smtClean="0"/>
              <a:t>1/31/2022</a:t>
            </a:fld>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docs.microsoft.com/en-us/azure/azure-sql/virtual-machines/windows/sql-agent-extension-manually-register-single-vm" TargetMode="External"/><Relationship Id="rId3" Type="http://schemas.openxmlformats.org/officeDocument/2006/relationships/hyperlink" Target="https://docs.microsoft.com/en-us/azure/azure-monitor/agents/agent-manage" TargetMode="External"/><Relationship Id="rId7" Type="http://schemas.openxmlformats.org/officeDocument/2006/relationships/hyperlink" Target="https://docs.microsoft.com/en-us/azure/azure-sql/virtual-machines/windows/sql-agent-extension-automatic-registration-all-vms"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docs.microsoft.com/en-us/azure/azure-monitor/agents/agent-windows#configure-agent-to-use-tls-12" TargetMode="External"/><Relationship Id="rId5" Type="http://schemas.openxmlformats.org/officeDocument/2006/relationships/hyperlink" Target="https://docs.microsoft.com/en-us/troubleshoot/windows-server/windows-security/restrict-cryptographic-algorithms-protocols-schannel#schannel-specific-registry-keys" TargetMode="External"/><Relationship Id="rId10" Type="http://schemas.openxmlformats.org/officeDocument/2006/relationships/hyperlink" Target="https://docs.microsoft.com/en-us/azure/azure-sql/virtual-machines/windows/manage-sql-vm-portal" TargetMode="External"/><Relationship Id="rId4" Type="http://schemas.openxmlformats.org/officeDocument/2006/relationships/hyperlink" Target="https://docs.microsoft.com/en-us/azure/azure-resource-manager/templates/deployment-history" TargetMode="External"/><Relationship Id="rId9" Type="http://schemas.openxmlformats.org/officeDocument/2006/relationships/hyperlink" Target="https://docs.microsoft.com/en-us/azure/azure-sql/virtual-machines/windows/sql-agent-extension-manually-register-vms-bulk"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docs.microsoft.com/en-us/azure/azure-sql/virtual-machines/windows/sql-agent-extension-automatic-registration-all-vms" TargetMode="External"/><Relationship Id="rId7" Type="http://schemas.openxmlformats.org/officeDocument/2006/relationships/hyperlink" Target="https://docs.microsoft.com/en-us/azure/azure-sql/virtual-machines/windows/manage-sql-vm-portal"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docs.microsoft.com/en-us/azure/azure-sql/virtual-machines/windows/sql-server-iaas-agent-extension-automate-management?tabs=azure-powershell#feature-benefits" TargetMode="External"/><Relationship Id="rId5" Type="http://schemas.openxmlformats.org/officeDocument/2006/relationships/hyperlink" Target="https://docs.microsoft.com/en-us/azure/azure-sql/virtual-machines/windows/sql-agent-extension-manually-register-vms-bulk" TargetMode="External"/><Relationship Id="rId4" Type="http://schemas.openxmlformats.org/officeDocument/2006/relationships/hyperlink" Target="https://docs.microsoft.com/en-us/azure/azure-sql/virtual-machines/windows/sql-agent-extension-manually-register-single-vm" TargetMode="Externa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docs.microsoft.com/en-us/azure/azure-sql/virtual-machines/windows/licensing-model-azure-hybrid-benefit-ahb-change" TargetMode="External"/><Relationship Id="rId13" Type="http://schemas.openxmlformats.org/officeDocument/2006/relationships/hyperlink" Target="https://docs.microsoft.com/en-us/azure/azure-sql/virtual-machines/windows/sql-assessment-for-sql-vm" TargetMode="External"/><Relationship Id="rId3" Type="http://schemas.openxmlformats.org/officeDocument/2006/relationships/hyperlink" Target="https://docs.microsoft.com/en-us/azure/azure-sql/virtual-machines/windows/manage-sql-vm-portal" TargetMode="External"/><Relationship Id="rId7" Type="http://schemas.openxmlformats.org/officeDocument/2006/relationships/hyperlink" Target="https://docs.microsoft.com/en-us/azure/azure-sql/virtual-machines/windows/azure-key-vault-integration-configure" TargetMode="External"/><Relationship Id="rId12" Type="http://schemas.openxmlformats.org/officeDocument/2006/relationships/hyperlink" Target="https://docs.microsoft.com/en-us/azure/azure-sql/virtual-machines/windows/security-considerations-best-practices"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docs.microsoft.com/en-us/azure/azure-sql/virtual-machines/windows/automated-patching" TargetMode="External"/><Relationship Id="rId11" Type="http://schemas.openxmlformats.org/officeDocument/2006/relationships/hyperlink" Target="https://docs.microsoft.com/en-us/azure/security-center/defender-for-sql-usage" TargetMode="External"/><Relationship Id="rId5" Type="http://schemas.openxmlformats.org/officeDocument/2006/relationships/hyperlink" Target="https://docs.microsoft.com/en-us/azure/azure-sql/virtual-machines/windows/automated-backup-sql-2014" TargetMode="External"/><Relationship Id="rId10" Type="http://schemas.openxmlformats.org/officeDocument/2006/relationships/hyperlink" Target="https://docs.microsoft.com/en-us/azure/azure-sql/virtual-machines/windows/change-sql-server-edition" TargetMode="External"/><Relationship Id="rId4" Type="http://schemas.openxmlformats.org/officeDocument/2006/relationships/hyperlink" Target="https://docs.microsoft.com/en-us/azure/azure-sql/virtual-machines/windows/frequently-asked-questions-faq" TargetMode="External"/><Relationship Id="rId9" Type="http://schemas.openxmlformats.org/officeDocument/2006/relationships/hyperlink" Target="https://docs.microsoft.com/en-us/azure/azure-sql/virtual-machines/windows/change-sql-server-version" TargetMode="External"/><Relationship Id="rId14" Type="http://schemas.openxmlformats.org/officeDocument/2006/relationships/hyperlink" Target="https://docs.microsoft.com/en-us/azure/azure-sql/virtual-machines/windows/sql-agent-extension-automatic-registration-all-vms" TargetMode="Externa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docs.microsoft.com/en-us/sql/sql-server/sql-server-privacy#non-personal-data" TargetMode="External"/><Relationship Id="rId3" Type="http://schemas.openxmlformats.org/officeDocument/2006/relationships/hyperlink" Target="https://docs.microsoft.com/en-us/azure/azure-sql/virtual-machines/windows/manage-sql-vm-portal" TargetMode="External"/><Relationship Id="rId7" Type="http://schemas.openxmlformats.org/officeDocument/2006/relationships/hyperlink" Target="https://docs.microsoft.com/en-us/sql/sql-server/usage-and-diagnostic-data-configuration-for-sql-server"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docs.microsoft.com/en-us/azure/azure-sql/virtual-machines/windows/sql-agent-extension-manually-register-vms-bulk" TargetMode="External"/><Relationship Id="rId5" Type="http://schemas.openxmlformats.org/officeDocument/2006/relationships/hyperlink" Target="https://docs.microsoft.com/en-us/azure/azure-sql/virtual-machines/windows/sql-agent-extension-manually-register-single-vm" TargetMode="External"/><Relationship Id="rId4" Type="http://schemas.openxmlformats.org/officeDocument/2006/relationships/hyperlink" Target="https://docs.microsoft.com/en-us/azure/azure-sql/virtual-machines/windows/sql-agent-extension-automatic-registration-all-vms"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azure/virtual-machines/windows/sql/virtual-machines-windows-sql-manage-portal?WT.mc_id=Portal-Microsoft_Azure_Compute"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docs.microsoft.com/azure/virtual-machines/windows/sql/virtual-machines-windows-sql-register-with-resource-provider?tabs=powershell&amp;WT.mc_id=Portal-Microsoft_Azure_Compute" TargetMode="Externa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docs.microsoft.com/en-us/azure/azure-monitor/agents/log-analytics-agent" TargetMode="External"/><Relationship Id="rId3" Type="http://schemas.openxmlformats.org/officeDocument/2006/relationships/hyperlink" Target="https://github.com/microsoft/sql-server-samples/blob/master/samples/manage/sql-assessment-api/DefaultRuleset.csv" TargetMode="External"/><Relationship Id="rId7" Type="http://schemas.openxmlformats.org/officeDocument/2006/relationships/hyperlink" Target="https://docs.microsoft.com/en-us/azure/azure-monitor/logs/quick-create-workspace"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portal.azure.com/#blade/HubsExtension/BrowseResource/resourceType/Microsoft.SqlVirtualMachine%2FSqlVirtualMachines" TargetMode="External"/><Relationship Id="rId5" Type="http://schemas.openxmlformats.org/officeDocument/2006/relationships/hyperlink" Target="https://docs.microsoft.com/en-us/azure/azure-sql/virtual-machines/windows/manage-sql-vm-portal" TargetMode="External"/><Relationship Id="rId4" Type="http://schemas.openxmlformats.org/officeDocument/2006/relationships/hyperlink" Target="https://docs.microsoft.com/en-us/sql/sql-assessment-api/sql-assessment-api-overview" TargetMode="External"/><Relationship Id="rId9" Type="http://schemas.openxmlformats.org/officeDocument/2006/relationships/hyperlink" Target="https://docs.microsoft.com/en-us/azure/azure-sql/virtual-machines/windows/sql-agent-extension-manually-register-single-vm#full-mode"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s://docs.microsoft.com/en-us/azure/azure-monitor/logs/quick-create-workspace" TargetMode="External"/><Relationship Id="rId4" Type="http://schemas.openxmlformats.org/officeDocument/2006/relationships/hyperlink" Target="https://portal.azure.com/#blade/HubsExtension/BrowseResource/resourceType/Microsoft.SqlVirtualMachine%2FSqlVirtualMachines"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docs.microsoft.com/en-us/azure/azure-monitor/logs/quick-create-workspace" TargetMode="External"/><Relationship Id="rId4" Type="http://schemas.openxmlformats.org/officeDocument/2006/relationships/hyperlink" Target="https://portal.azure.com/#blade/HubsExtension/BrowseResource/resourceType/Microsoft.SqlVirtualMachine%2FSqlVirtualMachines"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portal.azure.com/#blade/HubsExtension/BrowseResource/resourceType/Microsoft.SqlVirtualMachine%2FSqlVirtualMachines"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docs.microsoft.com/en-us/azure/azure-sql/virtual-machines/windows/manage-sql-vm-portal"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View results</a:t>
            </a:r>
          </a:p>
          <a:p>
            <a:pPr algn="l"/>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Assessments results</a:t>
            </a:r>
            <a:r>
              <a:rPr lang="en-US" b="0" i="0" dirty="0">
                <a:solidFill>
                  <a:srgbClr val="E6E6E6"/>
                </a:solidFill>
                <a:effectLst/>
                <a:latin typeface="Segoe UI" panose="020B0502040204020203" pitchFamily="34" charset="0"/>
              </a:rPr>
              <a:t> section of the </a:t>
            </a:r>
            <a:r>
              <a:rPr lang="en-US" b="1" i="0" dirty="0">
                <a:solidFill>
                  <a:srgbClr val="E6E6E6"/>
                </a:solidFill>
                <a:effectLst/>
                <a:latin typeface="Segoe UI" panose="020B0502040204020203" pitchFamily="34" charset="0"/>
              </a:rPr>
              <a:t>SQL Assessments</a:t>
            </a:r>
            <a:r>
              <a:rPr lang="en-US" b="0" i="0" dirty="0">
                <a:solidFill>
                  <a:srgbClr val="E6E6E6"/>
                </a:solidFill>
                <a:effectLst/>
                <a:latin typeface="Segoe UI" panose="020B0502040204020203" pitchFamily="34" charset="0"/>
              </a:rPr>
              <a:t> page shows a list of the most recent assessment runs. Each row displays the start time of a run and the status - scheduled, running, uploading results, completed, or failed. Each assessment run has two parts: evaluates your instance, and uploads the results to your Log Analytics workspace. The status field covers both parts. Assessment results are shown in Azure workbooks.</a:t>
            </a:r>
          </a:p>
          <a:p>
            <a:pPr algn="l"/>
            <a:r>
              <a:rPr lang="en-US" b="0" i="0" dirty="0">
                <a:solidFill>
                  <a:srgbClr val="E6E6E6"/>
                </a:solidFill>
                <a:effectLst/>
                <a:latin typeface="Segoe UI" panose="020B0502040204020203" pitchFamily="34" charset="0"/>
              </a:rPr>
              <a:t>Access the assessment results Azure workbook in three ways:</a:t>
            </a:r>
          </a:p>
          <a:p>
            <a:pPr algn="l">
              <a:buFont typeface="Arial" panose="020B0604020202020204" pitchFamily="34" charset="0"/>
              <a:buChar char="•"/>
            </a:pPr>
            <a:r>
              <a:rPr lang="en-US" b="0" i="0" dirty="0">
                <a:solidFill>
                  <a:srgbClr val="E6E6E6"/>
                </a:solidFill>
                <a:effectLst/>
                <a:latin typeface="Segoe UI" panose="020B0502040204020203" pitchFamily="34" charset="0"/>
              </a:rPr>
              <a:t>Select the </a:t>
            </a:r>
            <a:r>
              <a:rPr lang="en-US" b="1" i="0" dirty="0">
                <a:solidFill>
                  <a:srgbClr val="E6E6E6"/>
                </a:solidFill>
                <a:effectLst/>
                <a:latin typeface="Segoe UI" panose="020B0502040204020203" pitchFamily="34" charset="0"/>
              </a:rPr>
              <a:t>View latest successful assessment button</a:t>
            </a:r>
            <a:r>
              <a:rPr lang="en-US" b="0" i="0" dirty="0">
                <a:solidFill>
                  <a:srgbClr val="E6E6E6"/>
                </a:solidFill>
                <a:effectLst/>
                <a:latin typeface="Segoe UI" panose="020B0502040204020203" pitchFamily="34" charset="0"/>
              </a:rPr>
              <a:t> on the </a:t>
            </a:r>
            <a:r>
              <a:rPr lang="en-US" b="1" i="0" dirty="0">
                <a:solidFill>
                  <a:srgbClr val="E6E6E6"/>
                </a:solidFill>
                <a:effectLst/>
                <a:latin typeface="Segoe UI" panose="020B0502040204020203" pitchFamily="34" charset="0"/>
              </a:rPr>
              <a:t>SQL Assessments</a:t>
            </a:r>
            <a:r>
              <a:rPr lang="en-US" b="0" i="0" dirty="0">
                <a:solidFill>
                  <a:srgbClr val="E6E6E6"/>
                </a:solidFill>
                <a:effectLst/>
                <a:latin typeface="Segoe UI" panose="020B0502040204020203" pitchFamily="34" charset="0"/>
              </a:rPr>
              <a:t> page.</a:t>
            </a:r>
          </a:p>
          <a:p>
            <a:pPr algn="l">
              <a:buFont typeface="Arial" panose="020B0604020202020204" pitchFamily="34" charset="0"/>
              <a:buChar char="•"/>
            </a:pPr>
            <a:r>
              <a:rPr lang="en-US" b="0" i="0" dirty="0">
                <a:solidFill>
                  <a:srgbClr val="E6E6E6"/>
                </a:solidFill>
                <a:effectLst/>
                <a:latin typeface="Segoe UI" panose="020B0502040204020203" pitchFamily="34" charset="0"/>
              </a:rPr>
              <a:t>Choose a completed run from the </a:t>
            </a:r>
            <a:r>
              <a:rPr lang="en-US" b="1" i="0" dirty="0">
                <a:solidFill>
                  <a:srgbClr val="E6E6E6"/>
                </a:solidFill>
                <a:effectLst/>
                <a:latin typeface="Segoe UI" panose="020B0502040204020203" pitchFamily="34" charset="0"/>
              </a:rPr>
              <a:t>Assessment results</a:t>
            </a:r>
            <a:r>
              <a:rPr lang="en-US" b="0" i="0" dirty="0">
                <a:solidFill>
                  <a:srgbClr val="E6E6E6"/>
                </a:solidFill>
                <a:effectLst/>
                <a:latin typeface="Segoe UI" panose="020B0502040204020203" pitchFamily="34" charset="0"/>
              </a:rPr>
              <a:t> section of the </a:t>
            </a:r>
            <a:r>
              <a:rPr lang="en-US" b="1" i="0" dirty="0">
                <a:solidFill>
                  <a:srgbClr val="E6E6E6"/>
                </a:solidFill>
                <a:effectLst/>
                <a:latin typeface="Segoe UI" panose="020B0502040204020203" pitchFamily="34" charset="0"/>
              </a:rPr>
              <a:t>SQL Assessments</a:t>
            </a:r>
            <a:r>
              <a:rPr lang="en-US" b="0" i="0" dirty="0">
                <a:solidFill>
                  <a:srgbClr val="E6E6E6"/>
                </a:solidFill>
                <a:effectLst/>
                <a:latin typeface="Segoe UI" panose="020B0502040204020203" pitchFamily="34" charset="0"/>
              </a:rPr>
              <a:t> page.</a:t>
            </a:r>
          </a:p>
          <a:p>
            <a:pPr algn="l">
              <a:buFont typeface="Arial" panose="020B0604020202020204" pitchFamily="34" charset="0"/>
              <a:buChar char="•"/>
            </a:pPr>
            <a:r>
              <a:rPr lang="en-US" b="0" i="0" dirty="0">
                <a:solidFill>
                  <a:srgbClr val="E6E6E6"/>
                </a:solidFill>
                <a:effectLst/>
                <a:latin typeface="Segoe UI" panose="020B0502040204020203" pitchFamily="34" charset="0"/>
              </a:rPr>
              <a:t>Select </a:t>
            </a:r>
            <a:r>
              <a:rPr lang="en-US" b="1" i="0" dirty="0">
                <a:solidFill>
                  <a:srgbClr val="E6E6E6"/>
                </a:solidFill>
                <a:effectLst/>
                <a:latin typeface="Segoe UI" panose="020B0502040204020203" pitchFamily="34" charset="0"/>
              </a:rPr>
              <a:t>View assessment results</a:t>
            </a:r>
            <a:r>
              <a:rPr lang="en-US" b="0" i="0" dirty="0">
                <a:solidFill>
                  <a:srgbClr val="E6E6E6"/>
                </a:solidFill>
                <a:effectLst/>
                <a:latin typeface="Segoe UI" panose="020B0502040204020203" pitchFamily="34" charset="0"/>
              </a:rPr>
              <a:t> from the </a:t>
            </a:r>
            <a:r>
              <a:rPr lang="en-US" b="1" i="0" dirty="0">
                <a:solidFill>
                  <a:srgbClr val="E6E6E6"/>
                </a:solidFill>
                <a:effectLst/>
                <a:latin typeface="Segoe UI" panose="020B0502040204020203" pitchFamily="34" charset="0"/>
              </a:rPr>
              <a:t>Top 10 recommendations</a:t>
            </a:r>
            <a:r>
              <a:rPr lang="en-US" b="0" i="0" dirty="0">
                <a:solidFill>
                  <a:srgbClr val="E6E6E6"/>
                </a:solidFill>
                <a:effectLst/>
                <a:latin typeface="Segoe UI" panose="020B0502040204020203" pitchFamily="34" charset="0"/>
              </a:rPr>
              <a:t> surfaced on the </a:t>
            </a:r>
            <a:r>
              <a:rPr lang="en-US" b="1" i="0" dirty="0">
                <a:solidFill>
                  <a:srgbClr val="E6E6E6"/>
                </a:solidFill>
                <a:effectLst/>
                <a:latin typeface="Segoe UI" panose="020B0502040204020203" pitchFamily="34" charset="0"/>
              </a:rPr>
              <a:t>Overview</a:t>
            </a:r>
            <a:r>
              <a:rPr lang="en-US" b="0" i="0" dirty="0">
                <a:solidFill>
                  <a:srgbClr val="E6E6E6"/>
                </a:solidFill>
                <a:effectLst/>
                <a:latin typeface="Segoe UI" panose="020B0502040204020203" pitchFamily="34" charset="0"/>
              </a:rPr>
              <a:t> page of your SQL VM resource page.</a:t>
            </a:r>
          </a:p>
          <a:p>
            <a:pPr algn="l"/>
            <a:r>
              <a:rPr lang="en-US" b="0" i="0" dirty="0">
                <a:solidFill>
                  <a:srgbClr val="E6E6E6"/>
                </a:solidFill>
                <a:effectLst/>
                <a:latin typeface="Segoe UI" panose="020B0502040204020203" pitchFamily="34" charset="0"/>
              </a:rPr>
              <a:t>Once you have the workbook open, you can use the drop-down to select previous runs. You can view the results of a single run using the </a:t>
            </a:r>
            <a:r>
              <a:rPr lang="en-US" b="1" i="0" dirty="0">
                <a:solidFill>
                  <a:srgbClr val="E6E6E6"/>
                </a:solidFill>
                <a:effectLst/>
                <a:latin typeface="Segoe UI" panose="020B0502040204020203" pitchFamily="34" charset="0"/>
              </a:rPr>
              <a:t>Results</a:t>
            </a:r>
            <a:r>
              <a:rPr lang="en-US" b="0" i="0" dirty="0">
                <a:solidFill>
                  <a:srgbClr val="E6E6E6"/>
                </a:solidFill>
                <a:effectLst/>
                <a:latin typeface="Segoe UI" panose="020B0502040204020203" pitchFamily="34" charset="0"/>
              </a:rPr>
              <a:t> page or review historical trends using the </a:t>
            </a:r>
            <a:r>
              <a:rPr lang="en-US" b="1" i="0" dirty="0">
                <a:solidFill>
                  <a:srgbClr val="E6E6E6"/>
                </a:solidFill>
                <a:effectLst/>
                <a:latin typeface="Segoe UI" panose="020B0502040204020203" pitchFamily="34" charset="0"/>
              </a:rPr>
              <a:t>Trends</a:t>
            </a:r>
            <a:r>
              <a:rPr lang="en-US" b="0" i="0" dirty="0">
                <a:solidFill>
                  <a:srgbClr val="E6E6E6"/>
                </a:solidFill>
                <a:effectLst/>
                <a:latin typeface="Segoe UI" panose="020B0502040204020203" pitchFamily="34" charset="0"/>
              </a:rPr>
              <a:t> page.</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Results page</a:t>
            </a:r>
          </a:p>
          <a:p>
            <a:pPr algn="l"/>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Results</a:t>
            </a:r>
            <a:r>
              <a:rPr lang="en-US" b="0" i="0" dirty="0">
                <a:solidFill>
                  <a:srgbClr val="E6E6E6"/>
                </a:solidFill>
                <a:effectLst/>
                <a:latin typeface="Segoe UI" panose="020B0502040204020203" pitchFamily="34" charset="0"/>
              </a:rPr>
              <a:t> page organizes the recommendations using tabs for </a:t>
            </a:r>
            <a:r>
              <a:rPr lang="en-US" b="0" i="1" dirty="0">
                <a:solidFill>
                  <a:srgbClr val="E6E6E6"/>
                </a:solidFill>
                <a:effectLst/>
                <a:latin typeface="Segoe UI" panose="020B0502040204020203" pitchFamily="34" charset="0"/>
              </a:rPr>
              <a:t>All, new, resolved</a:t>
            </a:r>
            <a:r>
              <a:rPr lang="en-US" b="0" i="0" dirty="0">
                <a:solidFill>
                  <a:srgbClr val="E6E6E6"/>
                </a:solidFill>
                <a:effectLst/>
                <a:latin typeface="Segoe UI" panose="020B0502040204020203" pitchFamily="34" charset="0"/>
              </a:rPr>
              <a:t>. Use these tabs to view all recommendations from the current run, all the new recommendations (the delta from previous runs), or resolved recommendations from previous runs. Tabs help you track progress between runs. The </a:t>
            </a:r>
            <a:r>
              <a:rPr lang="en-US" b="0" i="1" dirty="0">
                <a:solidFill>
                  <a:srgbClr val="E6E6E6"/>
                </a:solidFill>
                <a:effectLst/>
                <a:latin typeface="Segoe UI" panose="020B0502040204020203" pitchFamily="34" charset="0"/>
              </a:rPr>
              <a:t>Insights</a:t>
            </a:r>
            <a:r>
              <a:rPr lang="en-US" b="0" i="0" dirty="0">
                <a:solidFill>
                  <a:srgbClr val="E6E6E6"/>
                </a:solidFill>
                <a:effectLst/>
                <a:latin typeface="Segoe UI" panose="020B0502040204020203" pitchFamily="34" charset="0"/>
              </a:rPr>
              <a:t> tab identifies the most recurring issues and the databases with the most issues. Use these to decide where to concentrate your efforts.</a:t>
            </a:r>
          </a:p>
          <a:p>
            <a:pPr algn="l"/>
            <a:r>
              <a:rPr lang="en-US" b="0" i="0" dirty="0">
                <a:solidFill>
                  <a:srgbClr val="E6E6E6"/>
                </a:solidFill>
                <a:effectLst/>
                <a:latin typeface="Segoe UI" panose="020B0502040204020203" pitchFamily="34" charset="0"/>
              </a:rPr>
              <a:t>The graph groups assessment results in different categories of severity - high, medium, and low. Select each category to see the list of recommendations, or search for key phrases in the search box. It's best to start with the most severe recommendations and go down the list.</a:t>
            </a:r>
          </a:p>
          <a:p>
            <a:pPr algn="l"/>
            <a:r>
              <a:rPr lang="en-US" b="0" i="0" dirty="0">
                <a:solidFill>
                  <a:srgbClr val="E6E6E6"/>
                </a:solidFill>
                <a:effectLst/>
                <a:latin typeface="Segoe UI" panose="020B0502040204020203" pitchFamily="34" charset="0"/>
              </a:rPr>
              <a:t>Sort by </a:t>
            </a:r>
            <a:r>
              <a:rPr lang="en-US" b="1" i="0" dirty="0">
                <a:solidFill>
                  <a:srgbClr val="E6E6E6"/>
                </a:solidFill>
                <a:effectLst/>
                <a:latin typeface="Segoe UI" panose="020B0502040204020203" pitchFamily="34" charset="0"/>
              </a:rPr>
              <a:t>Name</a:t>
            </a:r>
            <a:r>
              <a:rPr lang="en-US" b="0" i="0" dirty="0">
                <a:solidFill>
                  <a:srgbClr val="E6E6E6"/>
                </a:solidFill>
                <a:effectLst/>
                <a:latin typeface="Segoe UI" panose="020B0502040204020203" pitchFamily="34" charset="0"/>
              </a:rPr>
              <a:t> in the table to view recommendations grouped by a particular database or instance. Use the search box to view certain types of recommendations based on the tag value or key phrase, such as performance. Use the down arrow at the top-right of the table to expert results to an excel file.</a:t>
            </a:r>
          </a:p>
          <a:p>
            <a:pPr algn="l"/>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passed</a:t>
            </a:r>
            <a:r>
              <a:rPr lang="en-US" b="0" i="0" dirty="0">
                <a:solidFill>
                  <a:srgbClr val="E6E6E6"/>
                </a:solidFill>
                <a:effectLst/>
                <a:latin typeface="Segoe UI" panose="020B0502040204020203" pitchFamily="34" charset="0"/>
              </a:rPr>
              <a:t> section of the graph identifies recommendations your system already follows.</a:t>
            </a:r>
          </a:p>
          <a:p>
            <a:pPr algn="l"/>
            <a:r>
              <a:rPr lang="en-US" b="0" i="0" dirty="0">
                <a:solidFill>
                  <a:srgbClr val="E6E6E6"/>
                </a:solidFill>
                <a:effectLst/>
                <a:latin typeface="Segoe UI" panose="020B0502040204020203" pitchFamily="34" charset="0"/>
              </a:rPr>
              <a:t>View detailed information for each recommendation by selecting the </a:t>
            </a:r>
            <a:r>
              <a:rPr lang="en-US" b="1" i="0" dirty="0">
                <a:solidFill>
                  <a:srgbClr val="E6E6E6"/>
                </a:solidFill>
                <a:effectLst/>
                <a:latin typeface="Segoe UI" panose="020B0502040204020203" pitchFamily="34" charset="0"/>
              </a:rPr>
              <a:t>Message</a:t>
            </a:r>
            <a:r>
              <a:rPr lang="en-US" b="0" i="0" dirty="0">
                <a:solidFill>
                  <a:srgbClr val="E6E6E6"/>
                </a:solidFill>
                <a:effectLst/>
                <a:latin typeface="Segoe UI" panose="020B0502040204020203" pitchFamily="34" charset="0"/>
              </a:rPr>
              <a:t> field, such as a long description, and relevant online resources.</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Trends page</a:t>
            </a:r>
          </a:p>
          <a:p>
            <a:pPr algn="l"/>
            <a:r>
              <a:rPr lang="en-US" b="0" i="0" dirty="0">
                <a:solidFill>
                  <a:srgbClr val="E6E6E6"/>
                </a:solidFill>
                <a:effectLst/>
                <a:latin typeface="Segoe UI" panose="020B0502040204020203" pitchFamily="34" charset="0"/>
              </a:rPr>
              <a:t>There are three charts on the </a:t>
            </a:r>
            <a:r>
              <a:rPr lang="en-US" b="1" i="0" dirty="0">
                <a:solidFill>
                  <a:srgbClr val="E6E6E6"/>
                </a:solidFill>
                <a:effectLst/>
                <a:latin typeface="Segoe UI" panose="020B0502040204020203" pitchFamily="34" charset="0"/>
              </a:rPr>
              <a:t>Trends</a:t>
            </a:r>
            <a:r>
              <a:rPr lang="en-US" b="0" i="0" dirty="0">
                <a:solidFill>
                  <a:srgbClr val="E6E6E6"/>
                </a:solidFill>
                <a:effectLst/>
                <a:latin typeface="Segoe UI" panose="020B0502040204020203" pitchFamily="34" charset="0"/>
              </a:rPr>
              <a:t> page to show changes over time: all issues, new issues, and resolved issues. The charts help you see your progress. Ideally, the number of recommendations should go down while the number of resolved issues goes up. The legend shows the average number of issues for each severity level. Hover over the bars to see the individual vales for each run.</a:t>
            </a:r>
          </a:p>
          <a:p>
            <a:pPr algn="l"/>
            <a:r>
              <a:rPr lang="en-US" b="0" i="0" dirty="0">
                <a:solidFill>
                  <a:srgbClr val="E6E6E6"/>
                </a:solidFill>
                <a:effectLst/>
                <a:latin typeface="Segoe UI" panose="020B0502040204020203" pitchFamily="34" charset="0"/>
              </a:rPr>
              <a:t>If there are multiple runs in a single day, only the latest run is included in the graphs on the </a:t>
            </a:r>
            <a:r>
              <a:rPr lang="en-US" b="1" i="0" dirty="0">
                <a:solidFill>
                  <a:srgbClr val="E6E6E6"/>
                </a:solidFill>
                <a:effectLst/>
                <a:latin typeface="Segoe UI" panose="020B0502040204020203" pitchFamily="34" charset="0"/>
              </a:rPr>
              <a:t>Trends</a:t>
            </a:r>
            <a:r>
              <a:rPr lang="en-US" b="0" i="0" dirty="0">
                <a:solidFill>
                  <a:srgbClr val="E6E6E6"/>
                </a:solidFill>
                <a:effectLst/>
                <a:latin typeface="Segoe UI" panose="020B0502040204020203" pitchFamily="34" charset="0"/>
              </a:rPr>
              <a:t> page.</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Known Issues</a:t>
            </a:r>
          </a:p>
          <a:p>
            <a:pPr algn="l"/>
            <a:r>
              <a:rPr lang="en-US" b="0" i="0" dirty="0">
                <a:solidFill>
                  <a:srgbClr val="E6E6E6"/>
                </a:solidFill>
                <a:effectLst/>
                <a:latin typeface="Segoe UI" panose="020B0502040204020203" pitchFamily="34" charset="0"/>
              </a:rPr>
              <a:t>You may encounter some of the following known issues when using SQL assessments.</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Configuration error for Enable Assessment</a:t>
            </a:r>
          </a:p>
          <a:p>
            <a:pPr algn="l"/>
            <a:r>
              <a:rPr lang="en-US" b="0" i="0" dirty="0">
                <a:solidFill>
                  <a:srgbClr val="E6E6E6"/>
                </a:solidFill>
                <a:effectLst/>
                <a:latin typeface="Segoe UI" panose="020B0502040204020203" pitchFamily="34" charset="0"/>
              </a:rPr>
              <a:t>If your virtual machine is already associated with a Log Analytics workspace that you don't have access to or that is in another subscription, you will see an error in the configuration blade. For the former, you can either obtain permissions for that workspace or switch your VM to a different Log Analytics workspace by following </a:t>
            </a:r>
            <a:r>
              <a:rPr lang="en-US" b="0" i="0" u="none" strike="noStrike" dirty="0">
                <a:solidFill>
                  <a:srgbClr val="E6E6E6"/>
                </a:solidFill>
                <a:effectLst/>
                <a:latin typeface="Segoe UI" panose="020B0502040204020203" pitchFamily="34" charset="0"/>
                <a:hlinkClick r:id="rId3"/>
              </a:rPr>
              <a:t>these instructions</a:t>
            </a:r>
            <a:r>
              <a:rPr lang="en-US" b="0" i="0" dirty="0">
                <a:solidFill>
                  <a:srgbClr val="E6E6E6"/>
                </a:solidFill>
                <a:effectLst/>
                <a:latin typeface="Segoe UI" panose="020B0502040204020203" pitchFamily="34" charset="0"/>
              </a:rPr>
              <a:t> to remove Microsoft Monitoring Agent. We are working on enabling the scenario where the Log Analytics workspace is in another subscription.</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Deployment failure for Enable or Run Assessment</a:t>
            </a:r>
          </a:p>
          <a:p>
            <a:pPr algn="l"/>
            <a:r>
              <a:rPr lang="en-US" b="0" i="0" dirty="0">
                <a:solidFill>
                  <a:srgbClr val="E6E6E6"/>
                </a:solidFill>
                <a:effectLst/>
                <a:latin typeface="Segoe UI" panose="020B0502040204020203" pitchFamily="34" charset="0"/>
              </a:rPr>
              <a:t>Refer to the </a:t>
            </a:r>
            <a:r>
              <a:rPr lang="en-US" b="0" i="0" u="none" strike="noStrike" dirty="0">
                <a:solidFill>
                  <a:srgbClr val="E6E6E6"/>
                </a:solidFill>
                <a:effectLst/>
                <a:latin typeface="Segoe UI" panose="020B0502040204020203" pitchFamily="34" charset="0"/>
                <a:hlinkClick r:id="rId4"/>
              </a:rPr>
              <a:t>deployment history</a:t>
            </a:r>
            <a:r>
              <a:rPr lang="en-US" b="0" i="0" dirty="0">
                <a:solidFill>
                  <a:srgbClr val="E6E6E6"/>
                </a:solidFill>
                <a:effectLst/>
                <a:latin typeface="Segoe UI" panose="020B0502040204020203" pitchFamily="34" charset="0"/>
              </a:rPr>
              <a:t> of the resource group containing the SQL VM to view the error message associated with the failed action.</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Failed assessments</a:t>
            </a:r>
          </a:p>
          <a:p>
            <a:pPr algn="l"/>
            <a:r>
              <a:rPr lang="en-US" b="0" i="0" dirty="0">
                <a:solidFill>
                  <a:srgbClr val="E6E6E6"/>
                </a:solidFill>
                <a:effectLst/>
                <a:latin typeface="Segoe UI" panose="020B0502040204020203" pitchFamily="34" charset="0"/>
              </a:rPr>
              <a:t>If the assessment or uploading the results failed for some reason, the status of that run will indicate the failure. Clicking on the status will open a context pane where you can see the details about the failure and possible ways to remediate the issue.</a:t>
            </a:r>
          </a:p>
          <a:p>
            <a:pPr algn="l"/>
            <a:r>
              <a:rPr lang="en-US" b="1" i="0" dirty="0">
                <a:solidFill>
                  <a:srgbClr val="E6E6E6"/>
                </a:solidFill>
                <a:effectLst/>
                <a:latin typeface="Segoe UI" panose="020B0502040204020203" pitchFamily="34" charset="0"/>
              </a:rPr>
              <a:t> Tip</a:t>
            </a:r>
          </a:p>
          <a:p>
            <a:pPr algn="l"/>
            <a:r>
              <a:rPr lang="en-US" b="0" i="0" dirty="0">
                <a:solidFill>
                  <a:srgbClr val="E6E6E6"/>
                </a:solidFill>
                <a:effectLst/>
                <a:latin typeface="Segoe UI" panose="020B0502040204020203" pitchFamily="34" charset="0"/>
              </a:rPr>
              <a:t>If you have enforced TLS 1.0 or higher in Windows and disabled older SSL protocols as described </a:t>
            </a:r>
            <a:r>
              <a:rPr lang="en-US" b="1" i="0" u="none" strike="noStrike" dirty="0">
                <a:solidFill>
                  <a:srgbClr val="E6E6E6"/>
                </a:solidFill>
                <a:effectLst/>
                <a:latin typeface="Segoe UI" panose="020B0502040204020203" pitchFamily="34" charset="0"/>
                <a:hlinkClick r:id="rId5"/>
              </a:rPr>
              <a:t>here</a:t>
            </a:r>
            <a:r>
              <a:rPr lang="en-US" b="0" i="0" dirty="0">
                <a:solidFill>
                  <a:srgbClr val="E6E6E6"/>
                </a:solidFill>
                <a:effectLst/>
                <a:latin typeface="Segoe UI" panose="020B0502040204020203" pitchFamily="34" charset="0"/>
              </a:rPr>
              <a:t>, then you must also ensure that .NET Framework is </a:t>
            </a:r>
            <a:r>
              <a:rPr lang="en-US" b="1" i="0" u="none" strike="noStrike" dirty="0">
                <a:solidFill>
                  <a:srgbClr val="E6E6E6"/>
                </a:solidFill>
                <a:effectLst/>
                <a:latin typeface="Segoe UI" panose="020B0502040204020203" pitchFamily="34" charset="0"/>
                <a:hlinkClick r:id="rId6"/>
              </a:rPr>
              <a:t>configured</a:t>
            </a:r>
            <a:r>
              <a:rPr lang="en-US" b="0" i="0" dirty="0">
                <a:solidFill>
                  <a:srgbClr val="E6E6E6"/>
                </a:solidFill>
                <a:effectLst/>
                <a:latin typeface="Segoe UI" panose="020B0502040204020203" pitchFamily="34" charset="0"/>
              </a:rPr>
              <a:t> to use strong cryptography.</a:t>
            </a:r>
          </a:p>
          <a:p>
            <a:pPr algn="l"/>
            <a:endParaRPr lang="en-US" b="1"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Next steps</a:t>
            </a:r>
          </a:p>
          <a:p>
            <a:pPr algn="l">
              <a:buFont typeface="Arial" panose="020B0604020202020204" pitchFamily="34" charset="0"/>
              <a:buChar char="•"/>
            </a:pPr>
            <a:r>
              <a:rPr lang="en-US" b="0" i="0" dirty="0">
                <a:solidFill>
                  <a:srgbClr val="E6E6E6"/>
                </a:solidFill>
                <a:effectLst/>
                <a:latin typeface="Segoe UI" panose="020B0502040204020203" pitchFamily="34" charset="0"/>
              </a:rPr>
              <a:t>To register your SQL Server VM with the SQL Server IaaS extension to SQL Server on Azure VMs, see the articles for </a:t>
            </a:r>
            <a:r>
              <a:rPr lang="en-US" b="0" i="0" u="none" strike="noStrike" dirty="0">
                <a:solidFill>
                  <a:srgbClr val="E6E6E6"/>
                </a:solidFill>
                <a:effectLst/>
                <a:latin typeface="Segoe UI" panose="020B0502040204020203" pitchFamily="34" charset="0"/>
                <a:hlinkClick r:id="rId7"/>
              </a:rPr>
              <a:t>Automatic installation</a:t>
            </a:r>
            <a:r>
              <a:rPr lang="en-US" b="0" i="0" dirty="0">
                <a:solidFill>
                  <a:srgbClr val="E6E6E6"/>
                </a:solidFill>
                <a:effectLst/>
                <a:latin typeface="Segoe UI" panose="020B0502040204020203" pitchFamily="34" charset="0"/>
              </a:rPr>
              <a:t>, </a:t>
            </a:r>
            <a:r>
              <a:rPr lang="en-US" b="0" i="0" u="none" strike="noStrike" dirty="0">
                <a:solidFill>
                  <a:srgbClr val="E6E6E6"/>
                </a:solidFill>
                <a:effectLst/>
                <a:latin typeface="Segoe UI" panose="020B0502040204020203" pitchFamily="34" charset="0"/>
                <a:hlinkClick r:id="rId8"/>
              </a:rPr>
              <a:t>Single VMs</a:t>
            </a:r>
            <a:r>
              <a:rPr lang="en-US" b="0" i="0" dirty="0">
                <a:solidFill>
                  <a:srgbClr val="E6E6E6"/>
                </a:solidFill>
                <a:effectLst/>
                <a:latin typeface="Segoe UI" panose="020B0502040204020203" pitchFamily="34" charset="0"/>
              </a:rPr>
              <a:t>, or </a:t>
            </a:r>
            <a:r>
              <a:rPr lang="en-US" b="0" i="0" u="none" strike="noStrike" dirty="0">
                <a:solidFill>
                  <a:srgbClr val="E6E6E6"/>
                </a:solidFill>
                <a:effectLst/>
                <a:latin typeface="Segoe UI" panose="020B0502040204020203" pitchFamily="34" charset="0"/>
                <a:hlinkClick r:id="rId9"/>
              </a:rPr>
              <a:t>VMs in bulk</a:t>
            </a:r>
            <a:r>
              <a:rPr lang="en-US" b="0" i="0" dirty="0">
                <a:solidFill>
                  <a:srgbClr val="E6E6E6"/>
                </a:solidFill>
                <a:effectLst/>
                <a:latin typeface="Segoe UI" panose="020B0502040204020203" pitchFamily="34" charset="0"/>
              </a:rPr>
              <a:t>.</a:t>
            </a:r>
          </a:p>
          <a:p>
            <a:pPr algn="l">
              <a:buFont typeface="Arial" panose="020B0604020202020204" pitchFamily="34" charset="0"/>
              <a:buChar char="•"/>
            </a:pPr>
            <a:r>
              <a:rPr lang="en-US" b="0" i="0" dirty="0">
                <a:solidFill>
                  <a:srgbClr val="E6E6E6"/>
                </a:solidFill>
                <a:effectLst/>
                <a:latin typeface="Segoe UI" panose="020B0502040204020203" pitchFamily="34" charset="0"/>
              </a:rPr>
              <a:t>To learn about more capabilities available by the SQL Server IaaS extension to SQL Server on Azure VMs, see </a:t>
            </a:r>
            <a:r>
              <a:rPr lang="en-US" b="0" i="0" u="none" strike="noStrike" dirty="0">
                <a:solidFill>
                  <a:srgbClr val="E6E6E6"/>
                </a:solidFill>
                <a:effectLst/>
                <a:latin typeface="Segoe UI" panose="020B0502040204020203" pitchFamily="34" charset="0"/>
                <a:hlinkClick r:id="rId10"/>
              </a:rPr>
              <a:t>Manage SQL Server VMs by using the Azure portal</a:t>
            </a:r>
            <a:endParaRPr lang="en-US" b="0" i="0" dirty="0">
              <a:solidFill>
                <a:srgbClr val="E6E6E6"/>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58880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E6E6E6"/>
                </a:solidFill>
                <a:effectLst/>
                <a:latin typeface="Segoe UI" panose="020B0502040204020203" pitchFamily="34" charset="0"/>
              </a:rPr>
              <a:t>The SQL Server IaaS Agent extension (</a:t>
            </a:r>
            <a:r>
              <a:rPr lang="en-US" b="0" i="0" dirty="0" err="1">
                <a:solidFill>
                  <a:srgbClr val="E6E6E6"/>
                </a:solidFill>
                <a:effectLst/>
                <a:latin typeface="Segoe UI" panose="020B0502040204020203" pitchFamily="34" charset="0"/>
              </a:rPr>
              <a:t>SqlIaasExtension</a:t>
            </a:r>
            <a:r>
              <a:rPr lang="en-US" b="0" i="0" dirty="0">
                <a:solidFill>
                  <a:srgbClr val="E6E6E6"/>
                </a:solidFill>
                <a:effectLst/>
                <a:latin typeface="Segoe UI" panose="020B0502040204020203" pitchFamily="34" charset="0"/>
              </a:rPr>
              <a:t>) runs on SQL Server on Windows Azure Virtual Machines (VMs) to automate management and administration tasks.</a:t>
            </a:r>
          </a:p>
          <a:p>
            <a:pPr algn="l"/>
            <a:r>
              <a:rPr lang="en-US" b="0" i="0" dirty="0">
                <a:solidFill>
                  <a:srgbClr val="E6E6E6"/>
                </a:solidFill>
                <a:effectLst/>
                <a:latin typeface="Segoe UI" panose="020B0502040204020203" pitchFamily="34" charset="0"/>
              </a:rPr>
              <a:t>This article provides an overview of the extension. To install the SQL Server IaaS extension to SQL Server on Azure VMs, see the articles for </a:t>
            </a:r>
            <a:r>
              <a:rPr lang="en-US" b="0" i="0" u="none" strike="noStrike" dirty="0">
                <a:solidFill>
                  <a:srgbClr val="E6E6E6"/>
                </a:solidFill>
                <a:effectLst/>
                <a:latin typeface="Segoe UI" panose="020B0502040204020203" pitchFamily="34" charset="0"/>
                <a:hlinkClick r:id="rId3"/>
              </a:rPr>
              <a:t>Automatic installation</a:t>
            </a:r>
            <a:r>
              <a:rPr lang="en-US" b="0" i="0" dirty="0">
                <a:solidFill>
                  <a:srgbClr val="E6E6E6"/>
                </a:solidFill>
                <a:effectLst/>
                <a:latin typeface="Segoe UI" panose="020B0502040204020203" pitchFamily="34" charset="0"/>
              </a:rPr>
              <a:t>, </a:t>
            </a:r>
            <a:r>
              <a:rPr lang="en-US" b="0" i="0" u="none" strike="noStrike" dirty="0">
                <a:solidFill>
                  <a:srgbClr val="E6E6E6"/>
                </a:solidFill>
                <a:effectLst/>
                <a:latin typeface="Segoe UI" panose="020B0502040204020203" pitchFamily="34" charset="0"/>
                <a:hlinkClick r:id="rId4"/>
              </a:rPr>
              <a:t>Single VMs</a:t>
            </a:r>
            <a:r>
              <a:rPr lang="en-US" b="0" i="0" dirty="0">
                <a:solidFill>
                  <a:srgbClr val="E6E6E6"/>
                </a:solidFill>
                <a:effectLst/>
                <a:latin typeface="Segoe UI" panose="020B0502040204020203" pitchFamily="34" charset="0"/>
              </a:rPr>
              <a:t>, or </a:t>
            </a:r>
            <a:r>
              <a:rPr lang="en-US" b="0" i="0" u="none" strike="noStrike" dirty="0">
                <a:solidFill>
                  <a:srgbClr val="E6E6E6"/>
                </a:solidFill>
                <a:effectLst/>
                <a:latin typeface="Segoe UI" panose="020B0502040204020203" pitchFamily="34" charset="0"/>
                <a:hlinkClick r:id="rId5"/>
              </a:rPr>
              <a:t>VMs in bulk</a:t>
            </a:r>
            <a:r>
              <a:rPr lang="en-US" b="0" i="0" dirty="0">
                <a:solidFill>
                  <a:srgbClr val="E6E6E6"/>
                </a:solidFill>
                <a:effectLst/>
                <a:latin typeface="Segoe UI" panose="020B0502040204020203" pitchFamily="34" charset="0"/>
              </a:rPr>
              <a:t>.</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 Note</a:t>
            </a:r>
          </a:p>
          <a:p>
            <a:pPr algn="l"/>
            <a:r>
              <a:rPr lang="en-US" b="0" i="0" dirty="0">
                <a:solidFill>
                  <a:srgbClr val="E6E6E6"/>
                </a:solidFill>
                <a:effectLst/>
                <a:latin typeface="Segoe UI" panose="020B0502040204020203" pitchFamily="34" charset="0"/>
              </a:rPr>
              <a:t>Starting in September 2021, registering with the SQL IaaS extension in full mode no longer requires restarting the SQL Server service.</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Overview</a:t>
            </a:r>
          </a:p>
          <a:p>
            <a:pPr algn="l"/>
            <a:r>
              <a:rPr lang="en-US" b="0" i="0" dirty="0">
                <a:solidFill>
                  <a:srgbClr val="E6E6E6"/>
                </a:solidFill>
                <a:effectLst/>
                <a:latin typeface="Segoe UI" panose="020B0502040204020203" pitchFamily="34" charset="0"/>
              </a:rPr>
              <a:t>The SQL Server IaaS Agent extension allows for integration with the Azure portal, and depending on the management mode, unlocks a number of feature benefits for SQL Server on Azure VMs:</a:t>
            </a:r>
          </a:p>
          <a:p>
            <a:pPr algn="l"/>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1" i="0" dirty="0">
                <a:solidFill>
                  <a:srgbClr val="E6E6E6"/>
                </a:solidFill>
                <a:effectLst/>
                <a:latin typeface="Segoe UI" panose="020B0502040204020203" pitchFamily="34" charset="0"/>
              </a:rPr>
              <a:t>Feature benefits</a:t>
            </a:r>
            <a:r>
              <a:rPr lang="en-US" b="0" i="0" dirty="0">
                <a:solidFill>
                  <a:srgbClr val="E6E6E6"/>
                </a:solidFill>
                <a:effectLst/>
                <a:latin typeface="Segoe UI" panose="020B0502040204020203" pitchFamily="34" charset="0"/>
              </a:rPr>
              <a:t>: The extension unlocks a number of automation feature benefits, such as portal management, license flexibility, automated backup, automated patching and more. See </a:t>
            </a:r>
            <a:r>
              <a:rPr lang="en-US" b="0" i="0" u="none" strike="noStrike" dirty="0">
                <a:solidFill>
                  <a:srgbClr val="E6E6E6"/>
                </a:solidFill>
                <a:effectLst/>
                <a:latin typeface="Segoe UI" panose="020B0502040204020203" pitchFamily="34" charset="0"/>
                <a:hlinkClick r:id="rId6"/>
              </a:rPr>
              <a:t>Feature benefits</a:t>
            </a:r>
            <a:r>
              <a:rPr lang="en-US" b="0" i="0" dirty="0">
                <a:solidFill>
                  <a:srgbClr val="E6E6E6"/>
                </a:solidFill>
                <a:effectLst/>
                <a:latin typeface="Segoe UI" panose="020B0502040204020203" pitchFamily="34" charset="0"/>
              </a:rPr>
              <a:t> later in this article for details.</a:t>
            </a:r>
          </a:p>
          <a:p>
            <a:pPr algn="l">
              <a:buFont typeface="Arial" panose="020B0604020202020204" pitchFamily="34" charset="0"/>
              <a:buChar char="•"/>
            </a:pPr>
            <a:r>
              <a:rPr lang="en-US" b="1" i="0" dirty="0">
                <a:solidFill>
                  <a:srgbClr val="E6E6E6"/>
                </a:solidFill>
                <a:effectLst/>
                <a:latin typeface="Segoe UI" panose="020B0502040204020203" pitchFamily="34" charset="0"/>
              </a:rPr>
              <a:t>Compliance</a:t>
            </a:r>
            <a:r>
              <a:rPr lang="en-US" b="0" i="0" dirty="0">
                <a:solidFill>
                  <a:srgbClr val="E6E6E6"/>
                </a:solidFill>
                <a:effectLst/>
                <a:latin typeface="Segoe UI" panose="020B0502040204020203" pitchFamily="34" charset="0"/>
              </a:rPr>
              <a:t>: The extension offers a simplified method to fulfill the requirement of notifying Microsoft that the Azure Hybrid Benefit has been enabled as is specified in the product terms. This process negates needing to manage licensing registration forms for each resource.</a:t>
            </a:r>
          </a:p>
          <a:p>
            <a:pPr algn="l">
              <a:buFont typeface="Arial" panose="020B0604020202020204" pitchFamily="34" charset="0"/>
              <a:buChar char="•"/>
            </a:pPr>
            <a:r>
              <a:rPr lang="en-US" b="1" i="0" dirty="0">
                <a:solidFill>
                  <a:srgbClr val="E6E6E6"/>
                </a:solidFill>
                <a:effectLst/>
                <a:latin typeface="Segoe UI" panose="020B0502040204020203" pitchFamily="34" charset="0"/>
              </a:rPr>
              <a:t>Free</a:t>
            </a:r>
            <a:r>
              <a:rPr lang="en-US" b="0" i="0" dirty="0">
                <a:solidFill>
                  <a:srgbClr val="E6E6E6"/>
                </a:solidFill>
                <a:effectLst/>
                <a:latin typeface="Segoe UI" panose="020B0502040204020203" pitchFamily="34" charset="0"/>
              </a:rPr>
              <a:t>: The extension in all three manageability modes is completely free. There is no additional cost associated with the extension, or with changing management modes.</a:t>
            </a:r>
          </a:p>
          <a:p>
            <a:pPr algn="l">
              <a:buFont typeface="Arial" panose="020B0604020202020204" pitchFamily="34" charset="0"/>
              <a:buChar char="•"/>
            </a:pPr>
            <a:r>
              <a:rPr lang="en-US" b="1" i="0" dirty="0">
                <a:solidFill>
                  <a:srgbClr val="E6E6E6"/>
                </a:solidFill>
                <a:effectLst/>
                <a:latin typeface="Segoe UI" panose="020B0502040204020203" pitchFamily="34" charset="0"/>
              </a:rPr>
              <a:t>Simplified license management</a:t>
            </a:r>
            <a:r>
              <a:rPr lang="en-US" b="0" i="0" dirty="0">
                <a:solidFill>
                  <a:srgbClr val="E6E6E6"/>
                </a:solidFill>
                <a:effectLst/>
                <a:latin typeface="Segoe UI" panose="020B0502040204020203" pitchFamily="34" charset="0"/>
              </a:rPr>
              <a:t>: The extension simplifies SQL Server license management, and allows you to quickly identify SQL Server VMs with the Azure Hybrid Benefit enabled using the </a:t>
            </a:r>
            <a:r>
              <a:rPr lang="en-US" b="0" i="0" u="none" strike="noStrike" dirty="0">
                <a:solidFill>
                  <a:srgbClr val="E6E6E6"/>
                </a:solidFill>
                <a:effectLst/>
                <a:latin typeface="Segoe UI" panose="020B0502040204020203" pitchFamily="34" charset="0"/>
                <a:hlinkClick r:id="rId7"/>
              </a:rPr>
              <a:t>Azure portal</a:t>
            </a:r>
            <a:r>
              <a:rPr lang="en-US" b="0" i="0" dirty="0">
                <a:solidFill>
                  <a:srgbClr val="E6E6E6"/>
                </a:solidFill>
                <a:effectLst/>
                <a:latin typeface="Segoe UI" panose="020B0502040204020203" pitchFamily="34" charset="0"/>
              </a:rPr>
              <a:t>, PowerShell or the Azure CLI:</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a:t>
            </a:fld>
            <a:endParaRPr lang="en-US" noProof="0"/>
          </a:p>
        </p:txBody>
      </p:sp>
    </p:spTree>
    <p:extLst>
      <p:ext uri="{BB962C8B-B14F-4D97-AF65-F5344CB8AC3E}">
        <p14:creationId xmlns:p14="http://schemas.microsoft.com/office/powerpoint/2010/main" val="3016893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6E6E6"/>
                </a:solidFill>
                <a:effectLst/>
                <a:latin typeface="Segoe UI" panose="020B0502040204020203" pitchFamily="34" charset="0"/>
              </a:rPr>
              <a:t>Feature benefits</a:t>
            </a:r>
          </a:p>
          <a:p>
            <a:pPr algn="l"/>
            <a:r>
              <a:rPr lang="en-US" b="0" i="0" dirty="0">
                <a:solidFill>
                  <a:srgbClr val="E6E6E6"/>
                </a:solidFill>
                <a:effectLst/>
                <a:latin typeface="Segoe UI" panose="020B0502040204020203" pitchFamily="34" charset="0"/>
              </a:rPr>
              <a:t>The SQL Server IaaS Agent extension unlocks a number of feature benefits for managing your SQL Server VM.</a:t>
            </a:r>
          </a:p>
          <a:p>
            <a:pPr algn="l"/>
            <a:r>
              <a:rPr lang="en-US" b="0" i="0" dirty="0">
                <a:solidFill>
                  <a:srgbClr val="E6E6E6"/>
                </a:solidFill>
                <a:effectLst/>
                <a:latin typeface="Segoe UI" panose="020B0502040204020203" pitchFamily="34" charset="0"/>
              </a:rPr>
              <a:t>The following table details these benefits:</a:t>
            </a:r>
          </a:p>
          <a:p>
            <a:pPr algn="l"/>
            <a:endParaRPr lang="en-US" b="1"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Portal management: </a:t>
            </a:r>
            <a:r>
              <a:rPr lang="en-US" b="0" i="0" dirty="0">
                <a:solidFill>
                  <a:srgbClr val="E6E6E6"/>
                </a:solidFill>
                <a:effectLst/>
                <a:latin typeface="Segoe UI" panose="020B0502040204020203" pitchFamily="34" charset="0"/>
              </a:rPr>
              <a:t>Unlocks </a:t>
            </a:r>
            <a:r>
              <a:rPr lang="en-US" b="0" i="0" u="none" strike="noStrike" dirty="0">
                <a:solidFill>
                  <a:srgbClr val="E6E6E6"/>
                </a:solidFill>
                <a:effectLst/>
                <a:latin typeface="Segoe UI" panose="020B0502040204020203" pitchFamily="34" charset="0"/>
                <a:hlinkClick r:id="rId3"/>
              </a:rPr>
              <a:t>management in the portal</a:t>
            </a:r>
            <a:r>
              <a:rPr lang="en-US" b="0" i="0" dirty="0">
                <a:solidFill>
                  <a:srgbClr val="E6E6E6"/>
                </a:solidFill>
                <a:effectLst/>
                <a:latin typeface="Segoe UI" panose="020B0502040204020203" pitchFamily="34" charset="0"/>
              </a:rPr>
              <a:t>, so that you can view all of your SQL Server VMs in one place, and so that you can enable and disable SQL specific features directly from the portal. Management mode: Lightweight &amp; full</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Automated backup: </a:t>
            </a:r>
            <a:r>
              <a:rPr lang="en-US" b="0" i="0" dirty="0">
                <a:solidFill>
                  <a:srgbClr val="E6E6E6"/>
                </a:solidFill>
                <a:effectLst/>
                <a:latin typeface="Segoe UI" panose="020B0502040204020203" pitchFamily="34" charset="0"/>
              </a:rPr>
              <a:t>Automates the scheduling of backups for all databases for either the default instance or a </a:t>
            </a:r>
            <a:r>
              <a:rPr lang="en-US" b="0" i="0" u="none" strike="noStrike" dirty="0">
                <a:solidFill>
                  <a:srgbClr val="E6E6E6"/>
                </a:solidFill>
                <a:effectLst/>
                <a:latin typeface="Segoe UI" panose="020B0502040204020203" pitchFamily="34" charset="0"/>
                <a:hlinkClick r:id="rId4"/>
              </a:rPr>
              <a:t>properly installed</a:t>
            </a:r>
            <a:r>
              <a:rPr lang="en-US" b="0" i="0" dirty="0">
                <a:solidFill>
                  <a:srgbClr val="E6E6E6"/>
                </a:solidFill>
                <a:effectLst/>
                <a:latin typeface="Segoe UI" panose="020B0502040204020203" pitchFamily="34" charset="0"/>
              </a:rPr>
              <a:t> named instance of SQL Server on the VM. For more information, see </a:t>
            </a:r>
            <a:r>
              <a:rPr lang="en-US" b="0" i="0" u="none" strike="noStrike" dirty="0">
                <a:solidFill>
                  <a:srgbClr val="E6E6E6"/>
                </a:solidFill>
                <a:effectLst/>
                <a:latin typeface="Segoe UI" panose="020B0502040204020203" pitchFamily="34" charset="0"/>
                <a:hlinkClick r:id="rId5"/>
              </a:rPr>
              <a:t>Automated backup for SQL Server in Azure virtual machines (Resource Manager)</a:t>
            </a:r>
            <a:r>
              <a:rPr lang="en-US" b="0" i="0" dirty="0">
                <a:solidFill>
                  <a:srgbClr val="E6E6E6"/>
                </a:solidFill>
                <a:effectLst/>
                <a:latin typeface="Segoe UI" panose="020B0502040204020203" pitchFamily="34" charset="0"/>
              </a:rPr>
              <a:t>. Management mode: Full</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Automated patching: </a:t>
            </a:r>
            <a:r>
              <a:rPr lang="en-US" b="0" i="0" dirty="0">
                <a:solidFill>
                  <a:srgbClr val="E6E6E6"/>
                </a:solidFill>
                <a:effectLst/>
                <a:latin typeface="Segoe UI" panose="020B0502040204020203" pitchFamily="34" charset="0"/>
              </a:rPr>
              <a:t>Configures a maintenance window during which important Windows and SQL Server security updates to your VM can take place, so you can avoid updates during peak times for your workload. For more information, see </a:t>
            </a:r>
            <a:r>
              <a:rPr lang="en-US" b="0" i="0" u="none" strike="noStrike" dirty="0">
                <a:solidFill>
                  <a:srgbClr val="E6E6E6"/>
                </a:solidFill>
                <a:effectLst/>
                <a:latin typeface="Segoe UI" panose="020B0502040204020203" pitchFamily="34" charset="0"/>
                <a:hlinkClick r:id="rId6"/>
              </a:rPr>
              <a:t>Automated patching for SQL Server in Azure virtual machines (Resource Manager)</a:t>
            </a:r>
            <a:r>
              <a:rPr lang="en-US" b="0" i="0" dirty="0">
                <a:solidFill>
                  <a:srgbClr val="E6E6E6"/>
                </a:solidFill>
                <a:effectLst/>
                <a:latin typeface="Segoe UI" panose="020B0502040204020203" pitchFamily="34" charset="0"/>
              </a:rPr>
              <a:t>. Management mode: Full</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Azure Key Vault integration: </a:t>
            </a:r>
            <a:r>
              <a:rPr lang="en-US" b="0" i="0" dirty="0">
                <a:solidFill>
                  <a:srgbClr val="E6E6E6"/>
                </a:solidFill>
                <a:effectLst/>
                <a:latin typeface="Segoe UI" panose="020B0502040204020203" pitchFamily="34" charset="0"/>
              </a:rPr>
              <a:t>Enables you to automatically install and configure Azure Key Vault on your SQL Server VM. For more information, see </a:t>
            </a:r>
            <a:r>
              <a:rPr lang="en-US" b="0" i="0" u="none" strike="noStrike" dirty="0">
                <a:solidFill>
                  <a:srgbClr val="E6E6E6"/>
                </a:solidFill>
                <a:effectLst/>
                <a:latin typeface="Segoe UI" panose="020B0502040204020203" pitchFamily="34" charset="0"/>
                <a:hlinkClick r:id="rId7"/>
              </a:rPr>
              <a:t>Configure Azure Key Vault integration for SQL Server on Azure Virtual Machines (Resource Manager)</a:t>
            </a:r>
            <a:r>
              <a:rPr lang="en-US" b="0" i="0" dirty="0">
                <a:solidFill>
                  <a:srgbClr val="E6E6E6"/>
                </a:solidFill>
                <a:effectLst/>
                <a:latin typeface="Segoe UI" panose="020B0502040204020203" pitchFamily="34" charset="0"/>
              </a:rPr>
              <a:t>. Management mode: Full</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View disk utilization in portal: </a:t>
            </a:r>
            <a:r>
              <a:rPr lang="en-US" b="0" i="0" dirty="0">
                <a:solidFill>
                  <a:srgbClr val="E6E6E6"/>
                </a:solidFill>
                <a:effectLst/>
                <a:latin typeface="Segoe UI" panose="020B0502040204020203" pitchFamily="34" charset="0"/>
              </a:rPr>
              <a:t>Allows you to view a graphical representation of the disk utilization of your SQL data files in the Azure portal. Management mode: Full</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Flexible licensing: </a:t>
            </a:r>
            <a:r>
              <a:rPr lang="en-US" b="0" i="0" dirty="0">
                <a:solidFill>
                  <a:srgbClr val="E6E6E6"/>
                </a:solidFill>
                <a:effectLst/>
                <a:latin typeface="Segoe UI" panose="020B0502040204020203" pitchFamily="34" charset="0"/>
              </a:rPr>
              <a:t>Save on cost by </a:t>
            </a:r>
            <a:r>
              <a:rPr lang="en-US" b="0" i="0" u="none" strike="noStrike" dirty="0">
                <a:solidFill>
                  <a:srgbClr val="E6E6E6"/>
                </a:solidFill>
                <a:effectLst/>
                <a:latin typeface="Segoe UI" panose="020B0502040204020203" pitchFamily="34" charset="0"/>
                <a:hlinkClick r:id="rId8"/>
              </a:rPr>
              <a:t>seamlessly transitioning</a:t>
            </a:r>
            <a:r>
              <a:rPr lang="en-US" b="0" i="0" dirty="0">
                <a:solidFill>
                  <a:srgbClr val="E6E6E6"/>
                </a:solidFill>
                <a:effectLst/>
                <a:latin typeface="Segoe UI" panose="020B0502040204020203" pitchFamily="34" charset="0"/>
              </a:rPr>
              <a:t> from the bring-your-own-license (also known as the Azure Hybrid Benefit) to the pay-as-you-go licensing model and back again.</a:t>
            </a:r>
            <a:br>
              <a:rPr lang="en-US" b="0" i="0" dirty="0">
                <a:solidFill>
                  <a:srgbClr val="E6E6E6"/>
                </a:solidFill>
                <a:effectLst/>
                <a:latin typeface="Segoe UI" panose="020B0502040204020203" pitchFamily="34" charset="0"/>
              </a:rPr>
            </a:br>
            <a:r>
              <a:rPr lang="en-US" b="0" i="0" dirty="0">
                <a:solidFill>
                  <a:srgbClr val="E6E6E6"/>
                </a:solidFill>
                <a:effectLst/>
                <a:latin typeface="Segoe UI" panose="020B0502040204020203" pitchFamily="34" charset="0"/>
              </a:rPr>
              <a:t>Management mode: Lightweight &amp; full</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Flexible version / edition: </a:t>
            </a:r>
            <a:r>
              <a:rPr lang="en-US" b="0" i="0" dirty="0">
                <a:solidFill>
                  <a:srgbClr val="E6E6E6"/>
                </a:solidFill>
                <a:effectLst/>
                <a:latin typeface="Segoe UI" panose="020B0502040204020203" pitchFamily="34" charset="0"/>
              </a:rPr>
              <a:t>If you decide to change the </a:t>
            </a:r>
            <a:r>
              <a:rPr lang="en-US" b="0" i="0" u="none" strike="noStrike" dirty="0">
                <a:solidFill>
                  <a:srgbClr val="E6E6E6"/>
                </a:solidFill>
                <a:effectLst/>
                <a:latin typeface="Segoe UI" panose="020B0502040204020203" pitchFamily="34" charset="0"/>
                <a:hlinkClick r:id="rId9"/>
              </a:rPr>
              <a:t>version</a:t>
            </a:r>
            <a:r>
              <a:rPr lang="en-US" b="0" i="0" dirty="0">
                <a:solidFill>
                  <a:srgbClr val="E6E6E6"/>
                </a:solidFill>
                <a:effectLst/>
                <a:latin typeface="Segoe UI" panose="020B0502040204020203" pitchFamily="34" charset="0"/>
              </a:rPr>
              <a:t> or </a:t>
            </a:r>
            <a:r>
              <a:rPr lang="en-US" b="0" i="0" u="none" strike="noStrike" dirty="0">
                <a:solidFill>
                  <a:srgbClr val="E6E6E6"/>
                </a:solidFill>
                <a:effectLst/>
                <a:latin typeface="Segoe UI" panose="020B0502040204020203" pitchFamily="34" charset="0"/>
                <a:hlinkClick r:id="rId10"/>
              </a:rPr>
              <a:t>edition</a:t>
            </a:r>
            <a:r>
              <a:rPr lang="en-US" b="0" i="0" dirty="0">
                <a:solidFill>
                  <a:srgbClr val="E6E6E6"/>
                </a:solidFill>
                <a:effectLst/>
                <a:latin typeface="Segoe UI" panose="020B0502040204020203" pitchFamily="34" charset="0"/>
              </a:rPr>
              <a:t> of SQL Server, you can update the metadata within the Azure portal without having to redeploy the entire SQL Server VM. Management mode: Lightweight &amp; full</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Defender for Cloud portal integration: </a:t>
            </a:r>
            <a:r>
              <a:rPr lang="en-US" b="0" i="0" dirty="0">
                <a:solidFill>
                  <a:srgbClr val="E6E6E6"/>
                </a:solidFill>
                <a:effectLst/>
                <a:latin typeface="Segoe UI" panose="020B0502040204020203" pitchFamily="34" charset="0"/>
              </a:rPr>
              <a:t>If you've enabled </a:t>
            </a:r>
            <a:r>
              <a:rPr lang="en-US" b="0" i="0" u="none" strike="noStrike" dirty="0">
                <a:solidFill>
                  <a:srgbClr val="E6E6E6"/>
                </a:solidFill>
                <a:effectLst/>
                <a:latin typeface="Segoe UI" panose="020B0502040204020203" pitchFamily="34" charset="0"/>
                <a:hlinkClick r:id="rId11"/>
              </a:rPr>
              <a:t>Microsoft Defender for SQL</a:t>
            </a:r>
            <a:r>
              <a:rPr lang="en-US" b="0" i="0" dirty="0">
                <a:solidFill>
                  <a:srgbClr val="E6E6E6"/>
                </a:solidFill>
                <a:effectLst/>
                <a:latin typeface="Segoe UI" panose="020B0502040204020203" pitchFamily="34" charset="0"/>
              </a:rPr>
              <a:t>, then you can view Defender for Cloud recommendations directly in the </a:t>
            </a:r>
            <a:r>
              <a:rPr lang="en-US" b="0" i="0" u="none" strike="noStrike" dirty="0">
                <a:solidFill>
                  <a:srgbClr val="E6E6E6"/>
                </a:solidFill>
                <a:effectLst/>
                <a:latin typeface="Segoe UI" panose="020B0502040204020203" pitchFamily="34" charset="0"/>
                <a:hlinkClick r:id="rId3"/>
              </a:rPr>
              <a:t>SQL virtual machines</a:t>
            </a:r>
            <a:r>
              <a:rPr lang="en-US" b="0" i="0" dirty="0">
                <a:solidFill>
                  <a:srgbClr val="E6E6E6"/>
                </a:solidFill>
                <a:effectLst/>
                <a:latin typeface="Segoe UI" panose="020B0502040204020203" pitchFamily="34" charset="0"/>
              </a:rPr>
              <a:t> resource of the Azure portal. See </a:t>
            </a:r>
            <a:r>
              <a:rPr lang="en-US" b="0" i="0" u="none" strike="noStrike" dirty="0">
                <a:solidFill>
                  <a:srgbClr val="E6E6E6"/>
                </a:solidFill>
                <a:effectLst/>
                <a:latin typeface="Segoe UI" panose="020B0502040204020203" pitchFamily="34" charset="0"/>
                <a:hlinkClick r:id="rId12"/>
              </a:rPr>
              <a:t>Security best practices</a:t>
            </a:r>
            <a:r>
              <a:rPr lang="en-US" b="0" i="0" dirty="0">
                <a:solidFill>
                  <a:srgbClr val="E6E6E6"/>
                </a:solidFill>
                <a:effectLst/>
                <a:latin typeface="Segoe UI" panose="020B0502040204020203" pitchFamily="34" charset="0"/>
              </a:rPr>
              <a:t> to learn more. Management mode: Lightweight &amp; full</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SQL Assessment (Preview)</a:t>
            </a:r>
            <a:r>
              <a:rPr lang="en-US" b="0" i="0" dirty="0">
                <a:solidFill>
                  <a:srgbClr val="E6E6E6"/>
                </a:solidFill>
                <a:effectLst/>
                <a:latin typeface="Segoe UI" panose="020B0502040204020203" pitchFamily="34" charset="0"/>
              </a:rPr>
              <a:t>Enables you to assess the health of your SQL Server VMs using configuration best practices. For more information, see </a:t>
            </a:r>
            <a:r>
              <a:rPr lang="en-US" b="0" i="0" u="none" strike="noStrike" dirty="0">
                <a:solidFill>
                  <a:srgbClr val="E6E6E6"/>
                </a:solidFill>
                <a:effectLst/>
                <a:latin typeface="Segoe UI" panose="020B0502040204020203" pitchFamily="34" charset="0"/>
                <a:hlinkClick r:id="rId13"/>
              </a:rPr>
              <a:t>SQL Assessment</a:t>
            </a:r>
            <a:r>
              <a:rPr lang="en-US" b="0" i="0" dirty="0">
                <a:solidFill>
                  <a:srgbClr val="E6E6E6"/>
                </a:solidFill>
                <a:effectLst/>
                <a:latin typeface="Segoe UI" panose="020B0502040204020203" pitchFamily="34" charset="0"/>
              </a:rPr>
              <a:t>.</a:t>
            </a:r>
            <a:br>
              <a:rPr lang="en-US" b="0" i="0" dirty="0">
                <a:solidFill>
                  <a:srgbClr val="E6E6E6"/>
                </a:solidFill>
                <a:effectLst/>
                <a:latin typeface="Segoe UI" panose="020B0502040204020203" pitchFamily="34" charset="0"/>
              </a:rPr>
            </a:br>
            <a:r>
              <a:rPr lang="en-US" b="0" i="0" dirty="0">
                <a:solidFill>
                  <a:srgbClr val="E6E6E6"/>
                </a:solidFill>
                <a:effectLst/>
                <a:latin typeface="Segoe UI" panose="020B0502040204020203" pitchFamily="34" charset="0"/>
              </a:rPr>
              <a:t>Management mode: Full</a:t>
            </a:r>
          </a:p>
          <a:p>
            <a:pPr algn="l"/>
            <a:endParaRPr lang="en-US" b="0" i="0" dirty="0">
              <a:solidFill>
                <a:srgbClr val="E6E6E6"/>
              </a:solidFill>
              <a:effectLst/>
              <a:latin typeface="Segoe UI" panose="020B0502040204020203" pitchFamily="34" charset="0"/>
            </a:endParaRP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Management modes</a:t>
            </a:r>
          </a:p>
          <a:p>
            <a:pPr algn="l"/>
            <a:r>
              <a:rPr lang="en-US" b="0" i="0" dirty="0">
                <a:solidFill>
                  <a:srgbClr val="E6E6E6"/>
                </a:solidFill>
                <a:effectLst/>
                <a:latin typeface="Segoe UI" panose="020B0502040204020203" pitchFamily="34" charset="0"/>
              </a:rPr>
              <a:t>You can choose to register your SQL IaaS extension in three management modes:</a:t>
            </a:r>
          </a:p>
          <a:p>
            <a:pPr algn="l"/>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1" i="0" dirty="0">
                <a:solidFill>
                  <a:srgbClr val="E6E6E6"/>
                </a:solidFill>
                <a:effectLst/>
                <a:latin typeface="Segoe UI" panose="020B0502040204020203" pitchFamily="34" charset="0"/>
              </a:rPr>
              <a:t>Lightweight</a:t>
            </a:r>
            <a:r>
              <a:rPr lang="en-US" b="0" i="0" dirty="0">
                <a:solidFill>
                  <a:srgbClr val="E6E6E6"/>
                </a:solidFill>
                <a:effectLst/>
                <a:latin typeface="Segoe UI" panose="020B0502040204020203" pitchFamily="34" charset="0"/>
              </a:rPr>
              <a:t> mode copies extension binaries to the VM, but does not install the agent. Lightweight mode </a:t>
            </a:r>
            <a:r>
              <a:rPr lang="en-US" b="0" i="1" dirty="0">
                <a:solidFill>
                  <a:srgbClr val="E6E6E6"/>
                </a:solidFill>
                <a:effectLst/>
                <a:latin typeface="Segoe UI" panose="020B0502040204020203" pitchFamily="34" charset="0"/>
              </a:rPr>
              <a:t>only</a:t>
            </a:r>
            <a:r>
              <a:rPr lang="en-US" b="0" i="0" dirty="0">
                <a:solidFill>
                  <a:srgbClr val="E6E6E6"/>
                </a:solidFill>
                <a:effectLst/>
                <a:latin typeface="Segoe UI" panose="020B0502040204020203" pitchFamily="34" charset="0"/>
              </a:rPr>
              <a:t> supports changing the license type and edition of SQL Server and provides limited portal management. Use this option for SQL Server VMs with multiple instances, or those participating in a failover cluster instance (FCI). Lightweight mode is the default management mode when using the </a:t>
            </a:r>
            <a:r>
              <a:rPr lang="en-US" b="0" i="0" u="none" strike="noStrike" dirty="0">
                <a:solidFill>
                  <a:srgbClr val="E6E6E6"/>
                </a:solidFill>
                <a:effectLst/>
                <a:latin typeface="Segoe UI" panose="020B0502040204020203" pitchFamily="34" charset="0"/>
                <a:hlinkClick r:id="rId14"/>
              </a:rPr>
              <a:t>automatic registration</a:t>
            </a:r>
            <a:r>
              <a:rPr lang="en-US" b="0" i="0" dirty="0">
                <a:solidFill>
                  <a:srgbClr val="E6E6E6"/>
                </a:solidFill>
                <a:effectLst/>
                <a:latin typeface="Segoe UI" panose="020B0502040204020203" pitchFamily="34" charset="0"/>
              </a:rPr>
              <a:t> feature, or when a management type is not specified during manual registration. There is no impact to memory or CPU when using the lightweight mode, and there is no associated cost.</a:t>
            </a:r>
          </a:p>
          <a:p>
            <a:pPr algn="l">
              <a:buFont typeface="Arial" panose="020B0604020202020204" pitchFamily="34" charset="0"/>
              <a:buChar char="•"/>
            </a:pPr>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1" i="0" dirty="0">
                <a:solidFill>
                  <a:srgbClr val="E6E6E6"/>
                </a:solidFill>
                <a:effectLst/>
                <a:latin typeface="Segoe UI" panose="020B0502040204020203" pitchFamily="34" charset="0"/>
              </a:rPr>
              <a:t>Full</a:t>
            </a:r>
            <a:r>
              <a:rPr lang="en-US" b="0" i="0" dirty="0">
                <a:solidFill>
                  <a:srgbClr val="E6E6E6"/>
                </a:solidFill>
                <a:effectLst/>
                <a:latin typeface="Segoe UI" panose="020B0502040204020203" pitchFamily="34" charset="0"/>
              </a:rPr>
              <a:t> mode installs the SQL IaaS Agent to the VM to deliver full functionality. Use it for managing a SQL Server VM with a single instance. Full mode installs two Windows services that have a minimal impact to memory and CPU - these can be monitored through task manager. There is no cost associated with using the full manageability mode. System administrator permissions are required. As of September 2021, restarting the SQL Server service is no longer necessary when registering your SQL Server VM in full management mode.</a:t>
            </a:r>
          </a:p>
          <a:p>
            <a:pPr algn="l">
              <a:buFont typeface="Arial" panose="020B0604020202020204" pitchFamily="34" charset="0"/>
              <a:buChar char="•"/>
            </a:pPr>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1" i="0" dirty="0" err="1">
                <a:solidFill>
                  <a:srgbClr val="E6E6E6"/>
                </a:solidFill>
                <a:effectLst/>
                <a:latin typeface="Segoe UI" panose="020B0502040204020203" pitchFamily="34" charset="0"/>
              </a:rPr>
              <a:t>NoAgent</a:t>
            </a:r>
            <a:r>
              <a:rPr lang="en-US" b="0" i="0" dirty="0">
                <a:solidFill>
                  <a:srgbClr val="E6E6E6"/>
                </a:solidFill>
                <a:effectLst/>
                <a:latin typeface="Segoe UI" panose="020B0502040204020203" pitchFamily="34" charset="0"/>
              </a:rPr>
              <a:t> mode is dedicated to SQL Server 2008 and SQL Server 2008 R2 installed on Windows Server 2008. There is no impact to memory or CPU when using the </a:t>
            </a:r>
            <a:r>
              <a:rPr lang="en-US" b="0" i="0" dirty="0" err="1">
                <a:solidFill>
                  <a:srgbClr val="E6E6E6"/>
                </a:solidFill>
                <a:effectLst/>
                <a:latin typeface="Segoe UI" panose="020B0502040204020203" pitchFamily="34" charset="0"/>
              </a:rPr>
              <a:t>NoAgent</a:t>
            </a:r>
            <a:r>
              <a:rPr lang="en-US" b="0" i="0" dirty="0">
                <a:solidFill>
                  <a:srgbClr val="E6E6E6"/>
                </a:solidFill>
                <a:effectLst/>
                <a:latin typeface="Segoe UI" panose="020B0502040204020203" pitchFamily="34" charset="0"/>
              </a:rPr>
              <a:t> mode. There is no cost associated with using the </a:t>
            </a:r>
            <a:r>
              <a:rPr lang="en-US" b="0" i="0" dirty="0" err="1">
                <a:solidFill>
                  <a:srgbClr val="E6E6E6"/>
                </a:solidFill>
                <a:effectLst/>
                <a:latin typeface="Segoe UI" panose="020B0502040204020203" pitchFamily="34" charset="0"/>
              </a:rPr>
              <a:t>NoAgent</a:t>
            </a:r>
            <a:r>
              <a:rPr lang="en-US" b="0" i="0" dirty="0">
                <a:solidFill>
                  <a:srgbClr val="E6E6E6"/>
                </a:solidFill>
                <a:effectLst/>
                <a:latin typeface="Segoe UI" panose="020B0502040204020203" pitchFamily="34" charset="0"/>
              </a:rPr>
              <a:t> manageability mode, the SQL Server is not restarted, and an agent is not installed to the V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1915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b="0" i="0" baseline="0" dirty="0"/>
              <a:t>Automatic SQL Server VM registration button enables SQL IaaS Extensions features for all SQL VMs within a given subscription automatically.</a:t>
            </a:r>
            <a:endParaRPr lang="en-US" dirty="0"/>
          </a:p>
          <a:p>
            <a:pPr marL="171450" lvl="0" indent="-171450">
              <a:buFont typeface="Arial" panose="020B0604020202020204" pitchFamily="34" charset="0"/>
              <a:buChar char="•"/>
            </a:pPr>
            <a:r>
              <a:rPr lang="en-US" b="0" i="0" baseline="0" dirty="0"/>
              <a:t>In order to activate this feature for multiple subscriptions, the bulk action script is available.</a:t>
            </a:r>
            <a:endParaRPr lang="en-US" dirty="0"/>
          </a:p>
          <a:p>
            <a:pPr marL="171450" lvl="0" indent="-171450">
              <a:buFont typeface="Arial" panose="020B0604020202020204" pitchFamily="34" charset="0"/>
              <a:buChar char="•"/>
            </a:pPr>
            <a:r>
              <a:rPr lang="en-US" b="0" i="0" baseline="0" dirty="0"/>
              <a:t>Activation will require consent of the person who performs activation.</a:t>
            </a:r>
            <a:endParaRPr lang="en-US" dirty="0"/>
          </a:p>
          <a:p>
            <a:pPr marL="171450" lvl="0" indent="-171450">
              <a:buFont typeface="Arial" panose="020B0604020202020204" pitchFamily="34" charset="0"/>
              <a:buChar char="•"/>
            </a:pPr>
            <a:r>
              <a:rPr lang="en-US" b="0" i="0" baseline="0" dirty="0"/>
              <a:t>The request for customer consent enables to-customer statement in the opt-in that data can’t be used for audit unless the customer agrees: “Microsoft will not use this data for licensing audits without customer’s advance consent.”.</a:t>
            </a:r>
            <a:endParaRPr lang="en-US" dirty="0"/>
          </a:p>
          <a:p>
            <a:pPr marL="171450" lvl="0" indent="-171450">
              <a:buFont typeface="Arial" panose="020B0604020202020204" pitchFamily="34" charset="0"/>
              <a:buChar char="•"/>
            </a:pPr>
            <a:r>
              <a:rPr lang="en-US" b="0" i="0" baseline="0" dirty="0"/>
              <a:t>The SQL IaaS extensions will become active for all SQL Server VMs, and the features of lightweight mode will be activated within 24 hours after the activation.</a:t>
            </a:r>
            <a:endParaRPr lang="en-US" dirty="0"/>
          </a:p>
          <a:p>
            <a:pPr marL="171450" lvl="0" indent="-171450">
              <a:buFont typeface="Arial" panose="020B0604020202020204" pitchFamily="34" charset="0"/>
              <a:buChar char="•"/>
            </a:pPr>
            <a:r>
              <a:rPr lang="en-US" b="0" i="0" baseline="0" dirty="0"/>
              <a:t>Registering extension in full mode does not require restart of the server.</a:t>
            </a:r>
          </a:p>
          <a:p>
            <a:pPr marL="171450" lvl="0" indent="-171450">
              <a:buFont typeface="Arial" panose="020B0604020202020204" pitchFamily="34" charset="0"/>
              <a:buChar char="•"/>
            </a:pPr>
            <a:endParaRPr lang="en-US" b="0" i="0" baseline="0" dirty="0"/>
          </a:p>
          <a:p>
            <a:pPr algn="l"/>
            <a:r>
              <a:rPr lang="en-US" b="1" i="0" dirty="0">
                <a:solidFill>
                  <a:srgbClr val="E6E6E6"/>
                </a:solidFill>
                <a:effectLst/>
                <a:latin typeface="Segoe UI" panose="020B0502040204020203" pitchFamily="34" charset="0"/>
              </a:rPr>
              <a:t>Installation</a:t>
            </a:r>
          </a:p>
          <a:p>
            <a:pPr algn="l"/>
            <a:r>
              <a:rPr lang="en-US" b="0" i="0" dirty="0">
                <a:solidFill>
                  <a:srgbClr val="E6E6E6"/>
                </a:solidFill>
                <a:effectLst/>
                <a:latin typeface="Segoe UI" panose="020B0502040204020203" pitchFamily="34" charset="0"/>
              </a:rPr>
              <a:t>Register your SQL Server VM with the SQL Server IaaS Agent extension to create the </a:t>
            </a:r>
            <a:r>
              <a:rPr lang="en-US" b="1" i="0" u="none" strike="noStrike" dirty="0">
                <a:solidFill>
                  <a:srgbClr val="E6E6E6"/>
                </a:solidFill>
                <a:effectLst/>
                <a:latin typeface="Segoe UI" panose="020B0502040204020203" pitchFamily="34" charset="0"/>
                <a:hlinkClick r:id="rId3"/>
              </a:rPr>
              <a:t>SQL virtual machine</a:t>
            </a:r>
            <a:r>
              <a:rPr lang="en-US" b="0" i="0" u="none" strike="noStrike" dirty="0">
                <a:solidFill>
                  <a:srgbClr val="E6E6E6"/>
                </a:solidFill>
                <a:effectLst/>
                <a:latin typeface="Segoe UI" panose="020B0502040204020203" pitchFamily="34" charset="0"/>
                <a:hlinkClick r:id="rId3"/>
              </a:rPr>
              <a:t> </a:t>
            </a:r>
            <a:r>
              <a:rPr lang="en-US" b="0" i="1" u="none" strike="noStrike" dirty="0">
                <a:solidFill>
                  <a:srgbClr val="E6E6E6"/>
                </a:solidFill>
                <a:effectLst/>
                <a:latin typeface="Segoe UI" panose="020B0502040204020203" pitchFamily="34" charset="0"/>
                <a:hlinkClick r:id="rId3"/>
              </a:rPr>
              <a:t>resource</a:t>
            </a:r>
            <a:r>
              <a:rPr lang="en-US" b="0" i="0" dirty="0">
                <a:solidFill>
                  <a:srgbClr val="E6E6E6"/>
                </a:solidFill>
                <a:effectLst/>
                <a:latin typeface="Segoe UI" panose="020B0502040204020203" pitchFamily="34" charset="0"/>
              </a:rPr>
              <a:t> within your subscription, which is a </a:t>
            </a:r>
            <a:r>
              <a:rPr lang="en-US" b="0" i="1" dirty="0">
                <a:solidFill>
                  <a:srgbClr val="E6E6E6"/>
                </a:solidFill>
                <a:effectLst/>
                <a:latin typeface="Segoe UI" panose="020B0502040204020203" pitchFamily="34" charset="0"/>
              </a:rPr>
              <a:t>separate</a:t>
            </a:r>
            <a:r>
              <a:rPr lang="en-US" b="0" i="0" dirty="0">
                <a:solidFill>
                  <a:srgbClr val="E6E6E6"/>
                </a:solidFill>
                <a:effectLst/>
                <a:latin typeface="Segoe UI" panose="020B0502040204020203" pitchFamily="34" charset="0"/>
              </a:rPr>
              <a:t> resource from the virtual machine resource. Unregistering your SQL Server VM from the extension will remove the </a:t>
            </a:r>
            <a:r>
              <a:rPr lang="en-US" b="1" i="0" dirty="0">
                <a:solidFill>
                  <a:srgbClr val="E6E6E6"/>
                </a:solidFill>
                <a:effectLst/>
                <a:latin typeface="Segoe UI" panose="020B0502040204020203" pitchFamily="34" charset="0"/>
              </a:rPr>
              <a:t>SQL virtual machine</a:t>
            </a:r>
            <a:r>
              <a:rPr lang="en-US" b="0" i="0" dirty="0">
                <a:solidFill>
                  <a:srgbClr val="E6E6E6"/>
                </a:solidFill>
                <a:effectLst/>
                <a:latin typeface="Segoe UI" panose="020B0502040204020203" pitchFamily="34" charset="0"/>
              </a:rPr>
              <a:t> </a:t>
            </a:r>
            <a:r>
              <a:rPr lang="en-US" b="0" i="1" dirty="0">
                <a:solidFill>
                  <a:srgbClr val="E6E6E6"/>
                </a:solidFill>
                <a:effectLst/>
                <a:latin typeface="Segoe UI" panose="020B0502040204020203" pitchFamily="34" charset="0"/>
              </a:rPr>
              <a:t>resource</a:t>
            </a:r>
            <a:r>
              <a:rPr lang="en-US" b="0" i="0" dirty="0">
                <a:solidFill>
                  <a:srgbClr val="E6E6E6"/>
                </a:solidFill>
                <a:effectLst/>
                <a:latin typeface="Segoe UI" panose="020B0502040204020203" pitchFamily="34" charset="0"/>
              </a:rPr>
              <a:t> from your subscription but will not drop the actual virtual machine.</a:t>
            </a:r>
          </a:p>
          <a:p>
            <a:pPr algn="l"/>
            <a:r>
              <a:rPr lang="en-US" b="0" i="0" dirty="0">
                <a:solidFill>
                  <a:srgbClr val="E6E6E6"/>
                </a:solidFill>
                <a:effectLst/>
                <a:latin typeface="Segoe UI" panose="020B0502040204020203" pitchFamily="34" charset="0"/>
              </a:rPr>
              <a:t>Deploying a SQL Server VM Azure Marketplace image through the Azure portal automatically registers the SQL Server VM with the extension in full. However, if you choose to self-install SQL Server on an Azure virtual machine, or provision an Azure virtual machine from a custom VHD, then you must register your SQL Server VM with the SQL IaaS extension to unlock feature benefits.</a:t>
            </a:r>
          </a:p>
          <a:p>
            <a:pPr algn="l"/>
            <a:r>
              <a:rPr lang="en-US" b="0" i="0" dirty="0">
                <a:solidFill>
                  <a:srgbClr val="E6E6E6"/>
                </a:solidFill>
                <a:effectLst/>
                <a:latin typeface="Segoe UI" panose="020B0502040204020203" pitchFamily="34" charset="0"/>
              </a:rPr>
              <a:t>Registering the extension in lightweight mode copies binaries but does not install the agent to the VM. The agent is installed to the VM when the extension is installed in full management mode.</a:t>
            </a:r>
          </a:p>
          <a:p>
            <a:pPr algn="l"/>
            <a:r>
              <a:rPr lang="en-US" b="0" i="0" dirty="0">
                <a:solidFill>
                  <a:srgbClr val="E6E6E6"/>
                </a:solidFill>
                <a:effectLst/>
                <a:latin typeface="Segoe UI" panose="020B0502040204020203" pitchFamily="34" charset="0"/>
              </a:rPr>
              <a:t>There are three ways to register with the extension:</a:t>
            </a:r>
          </a:p>
          <a:p>
            <a:pPr algn="l">
              <a:buFont typeface="Arial" panose="020B0604020202020204" pitchFamily="34" charset="0"/>
              <a:buChar char="•"/>
            </a:pPr>
            <a:r>
              <a:rPr lang="en-US" b="0" i="0" u="none" strike="noStrike" dirty="0">
                <a:solidFill>
                  <a:srgbClr val="E6E6E6"/>
                </a:solidFill>
                <a:effectLst/>
                <a:latin typeface="Segoe UI" panose="020B0502040204020203" pitchFamily="34" charset="0"/>
                <a:hlinkClick r:id="rId4"/>
              </a:rPr>
              <a:t>Automatically for all current and future VMs in a subscription</a:t>
            </a:r>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6E6E6"/>
                </a:solidFill>
                <a:effectLst/>
                <a:latin typeface="Segoe UI" panose="020B0502040204020203" pitchFamily="34" charset="0"/>
                <a:hlinkClick r:id="rId5"/>
              </a:rPr>
              <a:t>Manually for a single VM</a:t>
            </a:r>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6E6E6"/>
                </a:solidFill>
                <a:effectLst/>
                <a:latin typeface="Segoe UI" panose="020B0502040204020203" pitchFamily="34" charset="0"/>
                <a:hlinkClick r:id="rId6"/>
              </a:rPr>
              <a:t>Manually for multiple VMs in bulk</a:t>
            </a:r>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By default, Azure VMs with SQL Server 2016 or later installed will be automatically registered with the SQL IaaS Agent extension when detected by the </a:t>
            </a:r>
            <a:r>
              <a:rPr lang="en-US" b="0" i="0" u="none" strike="noStrike" dirty="0">
                <a:solidFill>
                  <a:srgbClr val="E6E6E6"/>
                </a:solidFill>
                <a:effectLst/>
                <a:latin typeface="Segoe UI" panose="020B0502040204020203" pitchFamily="34" charset="0"/>
                <a:hlinkClick r:id="rId7"/>
              </a:rPr>
              <a:t>CEIP service</a:t>
            </a:r>
            <a:r>
              <a:rPr lang="en-US" b="0" i="0" dirty="0">
                <a:solidFill>
                  <a:srgbClr val="E6E6E6"/>
                </a:solidFill>
                <a:effectLst/>
                <a:latin typeface="Segoe UI" panose="020B0502040204020203" pitchFamily="34" charset="0"/>
              </a:rPr>
              <a:t>. See the </a:t>
            </a:r>
            <a:r>
              <a:rPr lang="en-US" b="0" i="0" u="none" strike="noStrike" dirty="0">
                <a:solidFill>
                  <a:srgbClr val="E6E6E6"/>
                </a:solidFill>
                <a:effectLst/>
                <a:latin typeface="Segoe UI" panose="020B0502040204020203" pitchFamily="34" charset="0"/>
                <a:hlinkClick r:id="rId8"/>
              </a:rPr>
              <a:t>SQL Server privacy supplement</a:t>
            </a:r>
            <a:r>
              <a:rPr lang="en-US" b="0" i="0" dirty="0">
                <a:solidFill>
                  <a:srgbClr val="E6E6E6"/>
                </a:solidFill>
                <a:effectLst/>
                <a:latin typeface="Segoe UI" panose="020B0502040204020203" pitchFamily="34" charset="0"/>
              </a:rPr>
              <a:t> for more information.</a:t>
            </a:r>
          </a:p>
          <a:p>
            <a:pPr marL="171450" lvl="0" indent="-171450">
              <a:buFont typeface="Arial" panose="020B0604020202020204" pitchFamily="34" charset="0"/>
              <a:buChar char="•"/>
            </a:pPr>
            <a:endParaRPr lang="en-US" b="0" i="0" baseline="0" dirty="0"/>
          </a:p>
          <a:p>
            <a:pPr marL="171450" lvl="0" indent="-171450">
              <a:buFont typeface="Arial" panose="020B0604020202020204" pitchFamily="34" charset="0"/>
              <a:buChar char="•"/>
            </a:pPr>
            <a:endParaRPr lang="en-US" b="0" i="0" baseline="0" dirty="0"/>
          </a:p>
          <a:p>
            <a:pPr marL="171450" lvl="0" indent="-171450">
              <a:buFont typeface="Arial" panose="020B0604020202020204" pitchFamily="34" charset="0"/>
              <a:buChar cha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12233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can also manage SQL Server configuration under the Virtual Machine bla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algn="l"/>
            <a:r>
              <a:rPr lang="en-US" b="1" i="0" dirty="0">
                <a:solidFill>
                  <a:srgbClr val="323130"/>
                </a:solidFill>
                <a:effectLst/>
                <a:latin typeface="az_ea_font"/>
              </a:rPr>
              <a:t>SQL management experience on Virtual Machines</a:t>
            </a:r>
          </a:p>
          <a:p>
            <a:pPr algn="l"/>
            <a:r>
              <a:rPr lang="en-US" b="0" i="0" dirty="0">
                <a:solidFill>
                  <a:srgbClr val="323130"/>
                </a:solidFill>
                <a:effectLst/>
                <a:latin typeface="az_ea_font"/>
              </a:rPr>
              <a:t>The new SQL focused management experience provides a single view of all your </a:t>
            </a:r>
            <a:r>
              <a:rPr lang="en-US" b="0" i="0" u="none" strike="noStrike" dirty="0">
                <a:solidFill>
                  <a:srgbClr val="0078D4"/>
                </a:solidFill>
                <a:effectLst/>
                <a:latin typeface="az_ea_font"/>
                <a:hlinkClick r:id="rId3"/>
              </a:rPr>
              <a:t>Virtual Machines running SQL Server</a:t>
            </a:r>
            <a:r>
              <a:rPr lang="en-US" b="0" i="0" dirty="0">
                <a:solidFill>
                  <a:srgbClr val="323130"/>
                </a:solidFill>
                <a:effectLst/>
                <a:latin typeface="az_ea_font"/>
              </a:rPr>
              <a:t>. You can manage your SQL Virtual Machines with features like automated patching, automated backup, licensing and edition flexibility.</a:t>
            </a:r>
          </a:p>
          <a:p>
            <a:pPr algn="l"/>
            <a:endParaRPr lang="en-US" b="0" i="0" dirty="0">
              <a:solidFill>
                <a:srgbClr val="323130"/>
              </a:solidFill>
              <a:effectLst/>
              <a:latin typeface="az_ea_font"/>
            </a:endParaRPr>
          </a:p>
          <a:p>
            <a:pPr algn="l"/>
            <a:r>
              <a:rPr lang="en-US" b="0" i="0" dirty="0">
                <a:solidFill>
                  <a:srgbClr val="323130"/>
                </a:solidFill>
                <a:effectLst/>
                <a:latin typeface="az_ea_font"/>
              </a:rPr>
              <a:t>Earlier SQL manageability was offered for only SQL Server Azure marketplace images, but you can now register any Azure virtual machine, with SQL Server installed, with the </a:t>
            </a:r>
            <a:r>
              <a:rPr lang="en-US" b="0" i="0" u="none" strike="noStrike" dirty="0">
                <a:solidFill>
                  <a:srgbClr val="0078D4"/>
                </a:solidFill>
                <a:effectLst/>
                <a:latin typeface="az_ea_font"/>
                <a:hlinkClick r:id="rId4"/>
              </a:rPr>
              <a:t>SQL VM Resource provider</a:t>
            </a:r>
            <a:r>
              <a:rPr lang="en-US" b="0" i="0" dirty="0">
                <a:solidFill>
                  <a:srgbClr val="323130"/>
                </a:solidFill>
                <a:effectLst/>
                <a:latin typeface="az_ea_font"/>
              </a:rPr>
              <a:t> and unlock all manageability features.</a:t>
            </a:r>
          </a:p>
          <a:p>
            <a:pPr algn="l"/>
            <a:endParaRPr lang="en-US" b="0" i="0" dirty="0">
              <a:solidFill>
                <a:srgbClr val="323130"/>
              </a:solidFill>
              <a:effectLst/>
              <a:latin typeface="az_ea_font"/>
            </a:endParaRPr>
          </a:p>
          <a:p>
            <a:pPr algn="l"/>
            <a:r>
              <a:rPr lang="en-US" b="0" i="0" dirty="0">
                <a:solidFill>
                  <a:srgbClr val="323130"/>
                </a:solidFill>
                <a:effectLst/>
                <a:latin typeface="az_ea_font"/>
              </a:rPr>
              <a:t>All upcoming manageability features and improvements will only be made available through this new experie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0308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E6E6E6"/>
                </a:solidFill>
                <a:effectLst/>
                <a:latin typeface="Segoe UI" panose="020B0502040204020203" pitchFamily="34" charset="0"/>
              </a:rPr>
              <a:t>The SQL Assessment feature of the Azure portal identifies possible performance issues and evaluates that your SQL Server on Azure Virtual Machines (VMs) is configured to follow best practices using the </a:t>
            </a:r>
            <a:r>
              <a:rPr lang="en-US" b="0" i="0" u="none" strike="noStrike" dirty="0">
                <a:solidFill>
                  <a:srgbClr val="E6E6E6"/>
                </a:solidFill>
                <a:effectLst/>
                <a:latin typeface="Segoe UI" panose="020B0502040204020203" pitchFamily="34" charset="0"/>
                <a:hlinkClick r:id="rId3"/>
              </a:rPr>
              <a:t>rich ruleset</a:t>
            </a:r>
            <a:r>
              <a:rPr lang="en-US" b="0" i="0" dirty="0">
                <a:solidFill>
                  <a:srgbClr val="E6E6E6"/>
                </a:solidFill>
                <a:effectLst/>
                <a:latin typeface="Segoe UI" panose="020B0502040204020203" pitchFamily="34" charset="0"/>
              </a:rPr>
              <a:t> provided by the </a:t>
            </a:r>
            <a:r>
              <a:rPr lang="en-US" b="0" i="0" u="none" strike="noStrike" dirty="0">
                <a:solidFill>
                  <a:srgbClr val="E6E6E6"/>
                </a:solidFill>
                <a:effectLst/>
                <a:latin typeface="Segoe UI" panose="020B0502040204020203" pitchFamily="34" charset="0"/>
                <a:hlinkClick r:id="rId4"/>
              </a:rPr>
              <a:t>SQL Assessment API</a:t>
            </a:r>
            <a:r>
              <a:rPr lang="en-US" b="0" i="0" dirty="0">
                <a:solidFill>
                  <a:srgbClr val="E6E6E6"/>
                </a:solidFill>
                <a:effectLst/>
                <a:latin typeface="Segoe UI" panose="020B0502040204020203" pitchFamily="34" charset="0"/>
              </a:rPr>
              <a:t>.</a:t>
            </a:r>
          </a:p>
          <a:p>
            <a:pPr algn="l"/>
            <a:r>
              <a:rPr lang="en-US" b="0" i="0" dirty="0">
                <a:solidFill>
                  <a:srgbClr val="E6E6E6"/>
                </a:solidFill>
                <a:effectLst/>
                <a:latin typeface="Segoe UI" panose="020B0502040204020203" pitchFamily="34" charset="0"/>
              </a:rPr>
              <a:t>The SQL Assessment feature is currently in preview.</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Overview</a:t>
            </a:r>
          </a:p>
          <a:p>
            <a:pPr algn="l"/>
            <a:r>
              <a:rPr lang="en-US" b="0" i="0" dirty="0">
                <a:solidFill>
                  <a:srgbClr val="E6E6E6"/>
                </a:solidFill>
                <a:effectLst/>
                <a:latin typeface="Segoe UI" panose="020B0502040204020203" pitchFamily="34" charset="0"/>
              </a:rPr>
              <a:t>Once the SQL Assessment feature is enabled, your SQL Server instance and databases are scanned to provide recommendations for things like indexes, deprecated features, enabled or missing trace flags, statistics, etc. Recommendations are surfaced to the </a:t>
            </a:r>
            <a:r>
              <a:rPr lang="en-US" b="0" i="0" u="none" strike="noStrike" dirty="0">
                <a:solidFill>
                  <a:srgbClr val="E6E6E6"/>
                </a:solidFill>
                <a:effectLst/>
                <a:latin typeface="Segoe UI" panose="020B0502040204020203" pitchFamily="34" charset="0"/>
                <a:hlinkClick r:id="rId5"/>
              </a:rPr>
              <a:t>SQL VM management page</a:t>
            </a:r>
            <a:r>
              <a:rPr lang="en-US" b="0" i="0" dirty="0">
                <a:solidFill>
                  <a:srgbClr val="E6E6E6"/>
                </a:solidFill>
                <a:effectLst/>
                <a:latin typeface="Segoe UI" panose="020B0502040204020203" pitchFamily="34" charset="0"/>
              </a:rPr>
              <a:t> of the </a:t>
            </a:r>
            <a:r>
              <a:rPr lang="en-US" b="0" i="0" u="none" strike="noStrike" dirty="0">
                <a:solidFill>
                  <a:srgbClr val="E6E6E6"/>
                </a:solidFill>
                <a:effectLst/>
                <a:latin typeface="Segoe UI" panose="020B0502040204020203" pitchFamily="34" charset="0"/>
                <a:hlinkClick r:id="rId6"/>
              </a:rPr>
              <a:t>Azure portal</a:t>
            </a:r>
            <a:r>
              <a:rPr lang="en-US" b="0" i="0" dirty="0">
                <a:solidFill>
                  <a:srgbClr val="E6E6E6"/>
                </a:solidFill>
                <a:effectLst/>
                <a:latin typeface="Segoe UI" panose="020B0502040204020203" pitchFamily="34" charset="0"/>
              </a:rPr>
              <a:t>.</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Assessment results are uploaded to your </a:t>
            </a:r>
            <a:r>
              <a:rPr lang="en-US" b="0" i="0" u="none" strike="noStrike" dirty="0">
                <a:solidFill>
                  <a:srgbClr val="E6E6E6"/>
                </a:solidFill>
                <a:effectLst/>
                <a:latin typeface="Segoe UI" panose="020B0502040204020203" pitchFamily="34" charset="0"/>
                <a:hlinkClick r:id="rId7"/>
              </a:rPr>
              <a:t>Log Analytics workspace</a:t>
            </a:r>
            <a:r>
              <a:rPr lang="en-US" b="0" i="0" dirty="0">
                <a:solidFill>
                  <a:srgbClr val="E6E6E6"/>
                </a:solidFill>
                <a:effectLst/>
                <a:latin typeface="Segoe UI" panose="020B0502040204020203" pitchFamily="34" charset="0"/>
              </a:rPr>
              <a:t> using </a:t>
            </a:r>
            <a:r>
              <a:rPr lang="en-US" b="0" i="0" u="none" strike="noStrike" dirty="0">
                <a:solidFill>
                  <a:srgbClr val="E6E6E6"/>
                </a:solidFill>
                <a:effectLst/>
                <a:latin typeface="Segoe UI" panose="020B0502040204020203" pitchFamily="34" charset="0"/>
                <a:hlinkClick r:id="rId8"/>
              </a:rPr>
              <a:t>Microsoft Monitoring Agent (MMA)</a:t>
            </a:r>
            <a:r>
              <a:rPr lang="en-US" b="0" i="0" dirty="0">
                <a:solidFill>
                  <a:srgbClr val="E6E6E6"/>
                </a:solidFill>
                <a:effectLst/>
                <a:latin typeface="Segoe UI" panose="020B0502040204020203" pitchFamily="34" charset="0"/>
              </a:rPr>
              <a:t>. If your VM is already configured to use Log Analytics, the SQL Assessment feature uses the existing connection. Otherwise, the MMA extension is installed to the SQL Server VM and connected to the specified Log Analytics workspace.</a:t>
            </a:r>
          </a:p>
          <a:p>
            <a:pPr algn="l"/>
            <a:r>
              <a:rPr lang="en-US" b="0" i="0" dirty="0">
                <a:solidFill>
                  <a:srgbClr val="E6E6E6"/>
                </a:solidFill>
                <a:effectLst/>
                <a:latin typeface="Segoe UI" panose="020B0502040204020203" pitchFamily="34" charset="0"/>
              </a:rPr>
              <a:t>Assessment run time depends on your environment (number of databases, objects, and so on), with a duration from a few minutes, up to an hour. Similarly, the size of the assessment result also depends on your environment. Assessment runs against your instance and all databases on that instance.</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Prerequisites</a:t>
            </a:r>
          </a:p>
          <a:p>
            <a:pPr algn="l"/>
            <a:r>
              <a:rPr lang="en-US" b="0" i="0" dirty="0">
                <a:solidFill>
                  <a:srgbClr val="E6E6E6"/>
                </a:solidFill>
                <a:effectLst/>
                <a:latin typeface="Segoe UI" panose="020B0502040204020203" pitchFamily="34" charset="0"/>
              </a:rPr>
              <a:t>To use the SQL Assessment feature, you must have the following prerequisites:</a:t>
            </a:r>
          </a:p>
          <a:p>
            <a:pPr algn="l">
              <a:buFont typeface="Arial" panose="020B0604020202020204" pitchFamily="34" charset="0"/>
              <a:buChar char="•"/>
            </a:pPr>
            <a:r>
              <a:rPr lang="en-US" b="0" i="0" dirty="0">
                <a:solidFill>
                  <a:srgbClr val="E6E6E6"/>
                </a:solidFill>
                <a:effectLst/>
                <a:latin typeface="Segoe UI" panose="020B0502040204020203" pitchFamily="34" charset="0"/>
              </a:rPr>
              <a:t>Your SQL Server VM must be registered with the </a:t>
            </a:r>
            <a:r>
              <a:rPr lang="en-US" b="0" i="0" u="none" strike="noStrike" dirty="0">
                <a:solidFill>
                  <a:srgbClr val="E6E6E6"/>
                </a:solidFill>
                <a:effectLst/>
                <a:latin typeface="Segoe UI" panose="020B0502040204020203" pitchFamily="34" charset="0"/>
                <a:hlinkClick r:id="rId9"/>
              </a:rPr>
              <a:t>SQL Server IaaS extension in full mode</a:t>
            </a:r>
            <a:r>
              <a:rPr lang="en-US" b="0" i="0" dirty="0">
                <a:solidFill>
                  <a:srgbClr val="E6E6E6"/>
                </a:solidFill>
                <a:effectLst/>
                <a:latin typeface="Segoe UI" panose="020B0502040204020203" pitchFamily="34" charset="0"/>
              </a:rPr>
              <a:t>.</a:t>
            </a:r>
          </a:p>
          <a:p>
            <a:pPr algn="l">
              <a:buFont typeface="Arial" panose="020B0604020202020204" pitchFamily="34" charset="0"/>
              <a:buChar char="•"/>
            </a:pPr>
            <a:r>
              <a:rPr lang="en-US" b="0" i="0" dirty="0">
                <a:solidFill>
                  <a:srgbClr val="E6E6E6"/>
                </a:solidFill>
                <a:effectLst/>
                <a:latin typeface="Segoe UI" panose="020B0502040204020203" pitchFamily="34" charset="0"/>
              </a:rPr>
              <a:t>A </a:t>
            </a:r>
            <a:r>
              <a:rPr lang="en-US" b="0" i="0" u="none" strike="noStrike" dirty="0">
                <a:solidFill>
                  <a:srgbClr val="E6E6E6"/>
                </a:solidFill>
                <a:effectLst/>
                <a:latin typeface="Segoe UI" panose="020B0502040204020203" pitchFamily="34" charset="0"/>
                <a:hlinkClick r:id="rId7"/>
              </a:rPr>
              <a:t>Log Analytics workspace</a:t>
            </a:r>
            <a:r>
              <a:rPr lang="en-US" b="0" i="0" dirty="0">
                <a:solidFill>
                  <a:srgbClr val="E6E6E6"/>
                </a:solidFill>
                <a:effectLst/>
                <a:latin typeface="Segoe UI" panose="020B0502040204020203" pitchFamily="34" charset="0"/>
              </a:rPr>
              <a:t> in the same subscription as your SQL Server VM to upload assessment results to.</a:t>
            </a:r>
          </a:p>
          <a:p>
            <a:pPr algn="l">
              <a:buFont typeface="Arial" panose="020B0604020202020204" pitchFamily="34" charset="0"/>
              <a:buChar char="•"/>
            </a:pPr>
            <a:r>
              <a:rPr lang="en-US" b="0" i="0" dirty="0">
                <a:solidFill>
                  <a:srgbClr val="E6E6E6"/>
                </a:solidFill>
                <a:effectLst/>
                <a:latin typeface="Segoe UI" panose="020B0502040204020203" pitchFamily="34" charset="0"/>
              </a:rPr>
              <a:t>SQL Server needs to be 2012 or higher version.</a:t>
            </a:r>
          </a:p>
          <a:p>
            <a:pPr algn="l"/>
            <a:endParaRPr lang="en-US" b="0" i="0" dirty="0">
              <a:solidFill>
                <a:srgbClr val="E6E6E6"/>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0122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6E6E6"/>
                </a:solidFill>
                <a:effectLst/>
                <a:latin typeface="Segoe UI" panose="020B0502040204020203" pitchFamily="34" charset="0"/>
              </a:rPr>
              <a:t>Enable</a:t>
            </a:r>
          </a:p>
          <a:p>
            <a:pPr algn="l"/>
            <a:r>
              <a:rPr lang="en-US" b="0" i="0" dirty="0">
                <a:solidFill>
                  <a:srgbClr val="E6E6E6"/>
                </a:solidFill>
                <a:effectLst/>
                <a:latin typeface="Segoe UI" panose="020B0502040204020203" pitchFamily="34" charset="0"/>
              </a:rPr>
              <a:t>To enable SQL Assessments, follow these steps:</a:t>
            </a:r>
          </a:p>
          <a:p>
            <a:pPr algn="l">
              <a:buFont typeface="+mj-lt"/>
              <a:buAutoNum type="arabicPeriod"/>
            </a:pPr>
            <a:r>
              <a:rPr lang="en-US" b="0" i="0" dirty="0">
                <a:solidFill>
                  <a:srgbClr val="E6E6E6"/>
                </a:solidFill>
                <a:effectLst/>
                <a:latin typeface="Segoe UI" panose="020B0502040204020203" pitchFamily="34" charset="0"/>
              </a:rPr>
              <a:t>Sign into the </a:t>
            </a:r>
            <a:r>
              <a:rPr lang="en-US" b="0" i="0" u="none" strike="noStrike" dirty="0">
                <a:solidFill>
                  <a:srgbClr val="E6E6E6"/>
                </a:solidFill>
                <a:effectLst/>
                <a:latin typeface="Segoe UI" panose="020B0502040204020203" pitchFamily="34" charset="0"/>
                <a:hlinkClick r:id="rId3"/>
              </a:rPr>
              <a:t>Azure portal</a:t>
            </a:r>
            <a:r>
              <a:rPr lang="en-US" b="0" i="0" dirty="0">
                <a:solidFill>
                  <a:srgbClr val="E6E6E6"/>
                </a:solidFill>
                <a:effectLst/>
                <a:latin typeface="Segoe UI" panose="020B0502040204020203" pitchFamily="34" charset="0"/>
              </a:rPr>
              <a:t> and go to your </a:t>
            </a:r>
            <a:r>
              <a:rPr lang="en-US" b="0" i="0" u="none" strike="noStrike" dirty="0">
                <a:solidFill>
                  <a:srgbClr val="E6E6E6"/>
                </a:solidFill>
                <a:effectLst/>
                <a:latin typeface="Segoe UI" panose="020B0502040204020203" pitchFamily="34" charset="0"/>
                <a:hlinkClick r:id="rId4"/>
              </a:rPr>
              <a:t>SQL Server VM resource</a:t>
            </a:r>
            <a:r>
              <a:rPr lang="en-US" b="0" i="0" dirty="0">
                <a:solidFill>
                  <a:srgbClr val="E6E6E6"/>
                </a:solidFill>
                <a:effectLst/>
                <a:latin typeface="Segoe UI" panose="020B0502040204020203" pitchFamily="34" charset="0"/>
              </a:rPr>
              <a:t>.</a:t>
            </a:r>
          </a:p>
          <a:p>
            <a:pPr algn="l">
              <a:buFont typeface="+mj-lt"/>
              <a:buAutoNum type="arabicPeriod"/>
            </a:pPr>
            <a:r>
              <a:rPr lang="en-US" b="0" i="0" dirty="0">
                <a:solidFill>
                  <a:srgbClr val="E6E6E6"/>
                </a:solidFill>
                <a:effectLst/>
                <a:latin typeface="Segoe UI" panose="020B0502040204020203" pitchFamily="34" charset="0"/>
              </a:rPr>
              <a:t>Select </a:t>
            </a:r>
            <a:r>
              <a:rPr lang="en-US" b="1" i="0" dirty="0">
                <a:solidFill>
                  <a:srgbClr val="E6E6E6"/>
                </a:solidFill>
                <a:effectLst/>
                <a:latin typeface="Segoe UI" panose="020B0502040204020203" pitchFamily="34" charset="0"/>
              </a:rPr>
              <a:t>SQL Assessments</a:t>
            </a:r>
            <a:r>
              <a:rPr lang="en-US" b="0" i="0" dirty="0">
                <a:solidFill>
                  <a:srgbClr val="E6E6E6"/>
                </a:solidFill>
                <a:effectLst/>
                <a:latin typeface="Segoe UI" panose="020B0502040204020203" pitchFamily="34" charset="0"/>
              </a:rPr>
              <a:t> under </a:t>
            </a:r>
            <a:r>
              <a:rPr lang="en-US" b="1" i="0" dirty="0">
                <a:solidFill>
                  <a:srgbClr val="E6E6E6"/>
                </a:solidFill>
                <a:effectLst/>
                <a:latin typeface="Segoe UI" panose="020B0502040204020203" pitchFamily="34" charset="0"/>
              </a:rPr>
              <a:t>Settings</a:t>
            </a:r>
            <a:r>
              <a:rPr lang="en-US" b="0" i="0" dirty="0">
                <a:solidFill>
                  <a:srgbClr val="E6E6E6"/>
                </a:solidFill>
                <a:effectLst/>
                <a:latin typeface="Segoe UI" panose="020B0502040204020203" pitchFamily="34" charset="0"/>
              </a:rPr>
              <a:t>.</a:t>
            </a:r>
          </a:p>
          <a:p>
            <a:pPr algn="l">
              <a:buFont typeface="+mj-lt"/>
              <a:buAutoNum type="arabicPeriod"/>
            </a:pPr>
            <a:r>
              <a:rPr lang="en-US" b="0" i="0" dirty="0">
                <a:solidFill>
                  <a:srgbClr val="E6E6E6"/>
                </a:solidFill>
                <a:effectLst/>
                <a:latin typeface="Segoe UI" panose="020B0502040204020203" pitchFamily="34" charset="0"/>
              </a:rPr>
              <a:t>Select </a:t>
            </a:r>
            <a:r>
              <a:rPr lang="en-US" b="1" i="0" dirty="0">
                <a:solidFill>
                  <a:srgbClr val="E6E6E6"/>
                </a:solidFill>
                <a:effectLst/>
                <a:latin typeface="Segoe UI" panose="020B0502040204020203" pitchFamily="34" charset="0"/>
              </a:rPr>
              <a:t>Enable SQL Assessments</a:t>
            </a:r>
            <a:r>
              <a:rPr lang="en-US" b="0" i="0" dirty="0">
                <a:solidFill>
                  <a:srgbClr val="E6E6E6"/>
                </a:solidFill>
                <a:effectLst/>
                <a:latin typeface="Segoe UI" panose="020B0502040204020203" pitchFamily="34" charset="0"/>
              </a:rPr>
              <a:t> or </a:t>
            </a:r>
            <a:r>
              <a:rPr lang="en-US" b="1" i="0" dirty="0">
                <a:solidFill>
                  <a:srgbClr val="E6E6E6"/>
                </a:solidFill>
                <a:effectLst/>
                <a:latin typeface="Segoe UI" panose="020B0502040204020203" pitchFamily="34" charset="0"/>
              </a:rPr>
              <a:t>Configuration</a:t>
            </a:r>
            <a:r>
              <a:rPr lang="en-US" b="0" i="0" dirty="0">
                <a:solidFill>
                  <a:srgbClr val="E6E6E6"/>
                </a:solidFill>
                <a:effectLst/>
                <a:latin typeface="Segoe UI" panose="020B0502040204020203" pitchFamily="34" charset="0"/>
              </a:rPr>
              <a:t> to navigate to the </a:t>
            </a:r>
            <a:r>
              <a:rPr lang="en-US" b="1" i="0" dirty="0">
                <a:solidFill>
                  <a:srgbClr val="E6E6E6"/>
                </a:solidFill>
                <a:effectLst/>
                <a:latin typeface="Segoe UI" panose="020B0502040204020203" pitchFamily="34" charset="0"/>
              </a:rPr>
              <a:t>Configuration</a:t>
            </a:r>
            <a:r>
              <a:rPr lang="en-US" b="0" i="0" dirty="0">
                <a:solidFill>
                  <a:srgbClr val="E6E6E6"/>
                </a:solidFill>
                <a:effectLst/>
                <a:latin typeface="Segoe UI" panose="020B0502040204020203" pitchFamily="34" charset="0"/>
              </a:rPr>
              <a:t> page.</a:t>
            </a:r>
          </a:p>
          <a:p>
            <a:pPr algn="l">
              <a:buFont typeface="+mj-lt"/>
              <a:buAutoNum type="arabicPeriod"/>
            </a:pPr>
            <a:r>
              <a:rPr lang="en-US" b="0" i="0" dirty="0">
                <a:solidFill>
                  <a:srgbClr val="E6E6E6"/>
                </a:solidFill>
                <a:effectLst/>
                <a:latin typeface="Segoe UI" panose="020B0502040204020203" pitchFamily="34" charset="0"/>
              </a:rPr>
              <a:t>Check the </a:t>
            </a:r>
            <a:r>
              <a:rPr lang="en-US" b="1" i="0" dirty="0">
                <a:solidFill>
                  <a:srgbClr val="E6E6E6"/>
                </a:solidFill>
                <a:effectLst/>
                <a:latin typeface="Segoe UI" panose="020B0502040204020203" pitchFamily="34" charset="0"/>
              </a:rPr>
              <a:t>Enable SQL Assessments</a:t>
            </a:r>
            <a:r>
              <a:rPr lang="en-US" b="0" i="0" dirty="0">
                <a:solidFill>
                  <a:srgbClr val="E6E6E6"/>
                </a:solidFill>
                <a:effectLst/>
                <a:latin typeface="Segoe UI" panose="020B0502040204020203" pitchFamily="34" charset="0"/>
              </a:rPr>
              <a:t> box and provide the following:</a:t>
            </a:r>
          </a:p>
          <a:p>
            <a:pPr marL="742950" lvl="1" indent="-285750" algn="l">
              <a:buFont typeface="+mj-lt"/>
              <a:buAutoNum type="arabicPeriod"/>
            </a:pPr>
            <a:r>
              <a:rPr lang="en-US" b="0" i="0" dirty="0">
                <a:solidFill>
                  <a:srgbClr val="E6E6E6"/>
                </a:solidFill>
                <a:effectLst/>
                <a:latin typeface="Segoe UI" panose="020B0502040204020203" pitchFamily="34" charset="0"/>
              </a:rPr>
              <a:t>The </a:t>
            </a:r>
            <a:r>
              <a:rPr lang="en-US" b="0" i="0" u="none" strike="noStrike" dirty="0">
                <a:solidFill>
                  <a:srgbClr val="E6E6E6"/>
                </a:solidFill>
                <a:effectLst/>
                <a:latin typeface="Segoe UI" panose="020B0502040204020203" pitchFamily="34" charset="0"/>
                <a:hlinkClick r:id="rId5"/>
              </a:rPr>
              <a:t>Log Analytics workspace</a:t>
            </a:r>
            <a:r>
              <a:rPr lang="en-US" b="0" i="0" dirty="0">
                <a:solidFill>
                  <a:srgbClr val="E6E6E6"/>
                </a:solidFill>
                <a:effectLst/>
                <a:latin typeface="Segoe UI" panose="020B0502040204020203" pitchFamily="34" charset="0"/>
              </a:rPr>
              <a:t> that assessments will be uploaded to. If the SQL Server VM has not been associated with a workspace previously, then choose an existing workspace in the subscription from the drop-down. Otherwise, the previously-associated workspace is already populated.</a:t>
            </a:r>
          </a:p>
          <a:p>
            <a:pPr marL="742950" lvl="1" indent="-285750" algn="l">
              <a:buFont typeface="+mj-lt"/>
              <a:buAutoNum type="arabicPeriod"/>
            </a:pPr>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Run schedule</a:t>
            </a:r>
            <a:r>
              <a:rPr lang="en-US" b="0" i="0" dirty="0">
                <a:solidFill>
                  <a:srgbClr val="E6E6E6"/>
                </a:solidFill>
                <a:effectLst/>
                <a:latin typeface="Segoe UI" panose="020B0502040204020203" pitchFamily="34" charset="0"/>
              </a:rPr>
              <a:t>. You can choose to run assessments on demand, or automatically on a schedule. If you choose a schedule, then provide the frequency (weekly or monthly), day of week, recurrence (every 1-6 weeks), and the time of day your assessments should start (local to VM time).</a:t>
            </a:r>
          </a:p>
          <a:p>
            <a:pPr algn="l">
              <a:buFont typeface="+mj-lt"/>
              <a:buAutoNum type="arabicPeriod"/>
            </a:pPr>
            <a:r>
              <a:rPr lang="en-US" b="0" i="0" dirty="0">
                <a:solidFill>
                  <a:srgbClr val="E6E6E6"/>
                </a:solidFill>
                <a:effectLst/>
                <a:latin typeface="Segoe UI" panose="020B0502040204020203" pitchFamily="34" charset="0"/>
              </a:rPr>
              <a:t>Select </a:t>
            </a:r>
            <a:r>
              <a:rPr lang="en-US" b="1" i="0" dirty="0">
                <a:solidFill>
                  <a:srgbClr val="E6E6E6"/>
                </a:solidFill>
                <a:effectLst/>
                <a:latin typeface="Segoe UI" panose="020B0502040204020203" pitchFamily="34" charset="0"/>
              </a:rPr>
              <a:t>Apply</a:t>
            </a:r>
            <a:r>
              <a:rPr lang="en-US" b="0" i="0" dirty="0">
                <a:solidFill>
                  <a:srgbClr val="E6E6E6"/>
                </a:solidFill>
                <a:effectLst/>
                <a:latin typeface="Segoe UI" panose="020B0502040204020203" pitchFamily="34" charset="0"/>
              </a:rPr>
              <a:t> to save your changes and deploy the Microsoft Monitoring Agent to your SQL Server VM if it's not deployed already. An Azure portal notification will tell you once the SQL Assessment feature is ready for your SQL Server VM.</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155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6E6E6"/>
                </a:solidFill>
                <a:effectLst/>
                <a:latin typeface="Segoe UI" panose="020B0502040204020203" pitchFamily="34" charset="0"/>
              </a:rPr>
              <a:t>Enable</a:t>
            </a:r>
          </a:p>
          <a:p>
            <a:pPr algn="l"/>
            <a:r>
              <a:rPr lang="en-US" b="0" i="0" dirty="0">
                <a:solidFill>
                  <a:srgbClr val="E6E6E6"/>
                </a:solidFill>
                <a:effectLst/>
                <a:latin typeface="Segoe UI" panose="020B0502040204020203" pitchFamily="34" charset="0"/>
              </a:rPr>
              <a:t>To enable SQL Assessments, follow these steps:</a:t>
            </a:r>
          </a:p>
          <a:p>
            <a:pPr algn="l">
              <a:buFont typeface="+mj-lt"/>
              <a:buAutoNum type="arabicPeriod"/>
            </a:pPr>
            <a:r>
              <a:rPr lang="en-US" b="0" i="0" dirty="0">
                <a:solidFill>
                  <a:srgbClr val="E6E6E6"/>
                </a:solidFill>
                <a:effectLst/>
                <a:latin typeface="Segoe UI" panose="020B0502040204020203" pitchFamily="34" charset="0"/>
              </a:rPr>
              <a:t>Sign into the </a:t>
            </a:r>
            <a:r>
              <a:rPr lang="en-US" b="0" i="0" u="none" strike="noStrike" dirty="0">
                <a:solidFill>
                  <a:srgbClr val="E6E6E6"/>
                </a:solidFill>
                <a:effectLst/>
                <a:latin typeface="Segoe UI" panose="020B0502040204020203" pitchFamily="34" charset="0"/>
                <a:hlinkClick r:id="rId3"/>
              </a:rPr>
              <a:t>Azure portal</a:t>
            </a:r>
            <a:r>
              <a:rPr lang="en-US" b="0" i="0" dirty="0">
                <a:solidFill>
                  <a:srgbClr val="E6E6E6"/>
                </a:solidFill>
                <a:effectLst/>
                <a:latin typeface="Segoe UI" panose="020B0502040204020203" pitchFamily="34" charset="0"/>
              </a:rPr>
              <a:t> and go to your </a:t>
            </a:r>
            <a:r>
              <a:rPr lang="en-US" b="0" i="0" u="none" strike="noStrike" dirty="0">
                <a:solidFill>
                  <a:srgbClr val="E6E6E6"/>
                </a:solidFill>
                <a:effectLst/>
                <a:latin typeface="Segoe UI" panose="020B0502040204020203" pitchFamily="34" charset="0"/>
                <a:hlinkClick r:id="rId4"/>
              </a:rPr>
              <a:t>SQL Server VM resource</a:t>
            </a:r>
            <a:r>
              <a:rPr lang="en-US" b="0" i="0" dirty="0">
                <a:solidFill>
                  <a:srgbClr val="E6E6E6"/>
                </a:solidFill>
                <a:effectLst/>
                <a:latin typeface="Segoe UI" panose="020B0502040204020203" pitchFamily="34" charset="0"/>
              </a:rPr>
              <a:t>.</a:t>
            </a:r>
          </a:p>
          <a:p>
            <a:pPr algn="l">
              <a:buFont typeface="+mj-lt"/>
              <a:buAutoNum type="arabicPeriod"/>
            </a:pPr>
            <a:r>
              <a:rPr lang="en-US" b="0" i="0" dirty="0">
                <a:solidFill>
                  <a:srgbClr val="E6E6E6"/>
                </a:solidFill>
                <a:effectLst/>
                <a:latin typeface="Segoe UI" panose="020B0502040204020203" pitchFamily="34" charset="0"/>
              </a:rPr>
              <a:t>Select </a:t>
            </a:r>
            <a:r>
              <a:rPr lang="en-US" b="1" i="0" dirty="0">
                <a:solidFill>
                  <a:srgbClr val="E6E6E6"/>
                </a:solidFill>
                <a:effectLst/>
                <a:latin typeface="Segoe UI" panose="020B0502040204020203" pitchFamily="34" charset="0"/>
              </a:rPr>
              <a:t>SQL Assessments</a:t>
            </a:r>
            <a:r>
              <a:rPr lang="en-US" b="0" i="0" dirty="0">
                <a:solidFill>
                  <a:srgbClr val="E6E6E6"/>
                </a:solidFill>
                <a:effectLst/>
                <a:latin typeface="Segoe UI" panose="020B0502040204020203" pitchFamily="34" charset="0"/>
              </a:rPr>
              <a:t> under </a:t>
            </a:r>
            <a:r>
              <a:rPr lang="en-US" b="1" i="0" dirty="0">
                <a:solidFill>
                  <a:srgbClr val="E6E6E6"/>
                </a:solidFill>
                <a:effectLst/>
                <a:latin typeface="Segoe UI" panose="020B0502040204020203" pitchFamily="34" charset="0"/>
              </a:rPr>
              <a:t>Settings</a:t>
            </a:r>
            <a:r>
              <a:rPr lang="en-US" b="0" i="0" dirty="0">
                <a:solidFill>
                  <a:srgbClr val="E6E6E6"/>
                </a:solidFill>
                <a:effectLst/>
                <a:latin typeface="Segoe UI" panose="020B0502040204020203" pitchFamily="34" charset="0"/>
              </a:rPr>
              <a:t>.</a:t>
            </a:r>
          </a:p>
          <a:p>
            <a:pPr algn="l">
              <a:buFont typeface="+mj-lt"/>
              <a:buAutoNum type="arabicPeriod"/>
            </a:pPr>
            <a:r>
              <a:rPr lang="en-US" b="0" i="0" dirty="0">
                <a:solidFill>
                  <a:srgbClr val="E6E6E6"/>
                </a:solidFill>
                <a:effectLst/>
                <a:latin typeface="Segoe UI" panose="020B0502040204020203" pitchFamily="34" charset="0"/>
              </a:rPr>
              <a:t>Select </a:t>
            </a:r>
            <a:r>
              <a:rPr lang="en-US" b="1" i="0" dirty="0">
                <a:solidFill>
                  <a:srgbClr val="E6E6E6"/>
                </a:solidFill>
                <a:effectLst/>
                <a:latin typeface="Segoe UI" panose="020B0502040204020203" pitchFamily="34" charset="0"/>
              </a:rPr>
              <a:t>Enable SQL Assessments</a:t>
            </a:r>
            <a:r>
              <a:rPr lang="en-US" b="0" i="0" dirty="0">
                <a:solidFill>
                  <a:srgbClr val="E6E6E6"/>
                </a:solidFill>
                <a:effectLst/>
                <a:latin typeface="Segoe UI" panose="020B0502040204020203" pitchFamily="34" charset="0"/>
              </a:rPr>
              <a:t> or </a:t>
            </a:r>
            <a:r>
              <a:rPr lang="en-US" b="1" i="0" dirty="0">
                <a:solidFill>
                  <a:srgbClr val="E6E6E6"/>
                </a:solidFill>
                <a:effectLst/>
                <a:latin typeface="Segoe UI" panose="020B0502040204020203" pitchFamily="34" charset="0"/>
              </a:rPr>
              <a:t>Configuration</a:t>
            </a:r>
            <a:r>
              <a:rPr lang="en-US" b="0" i="0" dirty="0">
                <a:solidFill>
                  <a:srgbClr val="E6E6E6"/>
                </a:solidFill>
                <a:effectLst/>
                <a:latin typeface="Segoe UI" panose="020B0502040204020203" pitchFamily="34" charset="0"/>
              </a:rPr>
              <a:t> to navigate to the </a:t>
            </a:r>
            <a:r>
              <a:rPr lang="en-US" b="1" i="0" dirty="0">
                <a:solidFill>
                  <a:srgbClr val="E6E6E6"/>
                </a:solidFill>
                <a:effectLst/>
                <a:latin typeface="Segoe UI" panose="020B0502040204020203" pitchFamily="34" charset="0"/>
              </a:rPr>
              <a:t>Configuration</a:t>
            </a:r>
            <a:r>
              <a:rPr lang="en-US" b="0" i="0" dirty="0">
                <a:solidFill>
                  <a:srgbClr val="E6E6E6"/>
                </a:solidFill>
                <a:effectLst/>
                <a:latin typeface="Segoe UI" panose="020B0502040204020203" pitchFamily="34" charset="0"/>
              </a:rPr>
              <a:t> page.</a:t>
            </a:r>
          </a:p>
          <a:p>
            <a:pPr algn="l">
              <a:buFont typeface="+mj-lt"/>
              <a:buAutoNum type="arabicPeriod"/>
            </a:pPr>
            <a:r>
              <a:rPr lang="en-US" b="0" i="0" dirty="0">
                <a:solidFill>
                  <a:srgbClr val="E6E6E6"/>
                </a:solidFill>
                <a:effectLst/>
                <a:latin typeface="Segoe UI" panose="020B0502040204020203" pitchFamily="34" charset="0"/>
              </a:rPr>
              <a:t>Check the </a:t>
            </a:r>
            <a:r>
              <a:rPr lang="en-US" b="1" i="0" dirty="0">
                <a:solidFill>
                  <a:srgbClr val="E6E6E6"/>
                </a:solidFill>
                <a:effectLst/>
                <a:latin typeface="Segoe UI" panose="020B0502040204020203" pitchFamily="34" charset="0"/>
              </a:rPr>
              <a:t>Enable SQL Assessments</a:t>
            </a:r>
            <a:r>
              <a:rPr lang="en-US" b="0" i="0" dirty="0">
                <a:solidFill>
                  <a:srgbClr val="E6E6E6"/>
                </a:solidFill>
                <a:effectLst/>
                <a:latin typeface="Segoe UI" panose="020B0502040204020203" pitchFamily="34" charset="0"/>
              </a:rPr>
              <a:t> box and provide the following:</a:t>
            </a:r>
          </a:p>
          <a:p>
            <a:pPr marL="742950" lvl="1" indent="-285750" algn="l">
              <a:buFont typeface="+mj-lt"/>
              <a:buAutoNum type="arabicPeriod"/>
            </a:pPr>
            <a:r>
              <a:rPr lang="en-US" b="0" i="0" dirty="0">
                <a:solidFill>
                  <a:srgbClr val="E6E6E6"/>
                </a:solidFill>
                <a:effectLst/>
                <a:latin typeface="Segoe UI" panose="020B0502040204020203" pitchFamily="34" charset="0"/>
              </a:rPr>
              <a:t>The </a:t>
            </a:r>
            <a:r>
              <a:rPr lang="en-US" b="0" i="0" u="none" strike="noStrike" dirty="0">
                <a:solidFill>
                  <a:srgbClr val="E6E6E6"/>
                </a:solidFill>
                <a:effectLst/>
                <a:latin typeface="Segoe UI" panose="020B0502040204020203" pitchFamily="34" charset="0"/>
                <a:hlinkClick r:id="rId5"/>
              </a:rPr>
              <a:t>Log Analytics workspace</a:t>
            </a:r>
            <a:r>
              <a:rPr lang="en-US" b="0" i="0" dirty="0">
                <a:solidFill>
                  <a:srgbClr val="E6E6E6"/>
                </a:solidFill>
                <a:effectLst/>
                <a:latin typeface="Segoe UI" panose="020B0502040204020203" pitchFamily="34" charset="0"/>
              </a:rPr>
              <a:t> that assessments will be uploaded to. If the SQL Server VM has not been associated with a workspace previously, then choose an existing workspace in the subscription from the drop-down. Otherwise, the previously-associated workspace is already populated.</a:t>
            </a:r>
          </a:p>
          <a:p>
            <a:pPr marL="742950" lvl="1" indent="-285750" algn="l">
              <a:buFont typeface="+mj-lt"/>
              <a:buAutoNum type="arabicPeriod"/>
            </a:pPr>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Run schedule</a:t>
            </a:r>
            <a:r>
              <a:rPr lang="en-US" b="0" i="0" dirty="0">
                <a:solidFill>
                  <a:srgbClr val="E6E6E6"/>
                </a:solidFill>
                <a:effectLst/>
                <a:latin typeface="Segoe UI" panose="020B0502040204020203" pitchFamily="34" charset="0"/>
              </a:rPr>
              <a:t>. You can choose to run assessments on demand, or automatically on a schedule. If you choose a schedule, then provide the frequency (weekly or monthly), day of week, recurrence (every 1-6 weeks), and the time of day your assessments should start (local to VM time).</a:t>
            </a:r>
          </a:p>
          <a:p>
            <a:pPr algn="l">
              <a:buFont typeface="+mj-lt"/>
              <a:buAutoNum type="arabicPeriod"/>
            </a:pPr>
            <a:r>
              <a:rPr lang="en-US" b="0" i="0" dirty="0">
                <a:solidFill>
                  <a:srgbClr val="E6E6E6"/>
                </a:solidFill>
                <a:effectLst/>
                <a:latin typeface="Segoe UI" panose="020B0502040204020203" pitchFamily="34" charset="0"/>
              </a:rPr>
              <a:t>Select </a:t>
            </a:r>
            <a:r>
              <a:rPr lang="en-US" b="1" i="0" dirty="0">
                <a:solidFill>
                  <a:srgbClr val="E6E6E6"/>
                </a:solidFill>
                <a:effectLst/>
                <a:latin typeface="Segoe UI" panose="020B0502040204020203" pitchFamily="34" charset="0"/>
              </a:rPr>
              <a:t>Apply</a:t>
            </a:r>
            <a:r>
              <a:rPr lang="en-US" b="0" i="0" dirty="0">
                <a:solidFill>
                  <a:srgbClr val="E6E6E6"/>
                </a:solidFill>
                <a:effectLst/>
                <a:latin typeface="Segoe UI" panose="020B0502040204020203" pitchFamily="34" charset="0"/>
              </a:rPr>
              <a:t> to save your changes and deploy the Microsoft Monitoring Agent to your SQL Server VM if it's not deployed already. An Azure portal notification will tell you once the SQL Assessment feature is ready for your SQL Server VM.</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37089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6E6E6"/>
                </a:solidFill>
                <a:effectLst/>
                <a:latin typeface="Segoe UI" panose="020B0502040204020203" pitchFamily="34" charset="0"/>
              </a:rPr>
              <a:t>Assess SQL Server VM</a:t>
            </a:r>
          </a:p>
          <a:p>
            <a:pPr algn="l"/>
            <a:r>
              <a:rPr lang="en-US" b="0" i="0" dirty="0">
                <a:solidFill>
                  <a:srgbClr val="E6E6E6"/>
                </a:solidFill>
                <a:effectLst/>
                <a:latin typeface="Segoe UI" panose="020B0502040204020203" pitchFamily="34" charset="0"/>
              </a:rPr>
              <a:t>Assessments run:</a:t>
            </a:r>
          </a:p>
          <a:p>
            <a:pPr algn="l">
              <a:buFont typeface="Arial" panose="020B0604020202020204" pitchFamily="34" charset="0"/>
              <a:buChar char="•"/>
            </a:pPr>
            <a:r>
              <a:rPr lang="en-US" b="0" i="0" dirty="0">
                <a:solidFill>
                  <a:srgbClr val="E6E6E6"/>
                </a:solidFill>
                <a:effectLst/>
                <a:latin typeface="Segoe UI" panose="020B0502040204020203" pitchFamily="34" charset="0"/>
              </a:rPr>
              <a:t>On a schedule</a:t>
            </a:r>
          </a:p>
          <a:p>
            <a:pPr algn="l">
              <a:buFont typeface="Arial" panose="020B0604020202020204" pitchFamily="34" charset="0"/>
              <a:buChar char="•"/>
            </a:pPr>
            <a:r>
              <a:rPr lang="en-US" b="0" i="0" dirty="0">
                <a:solidFill>
                  <a:srgbClr val="E6E6E6"/>
                </a:solidFill>
                <a:effectLst/>
                <a:latin typeface="Segoe UI" panose="020B0502040204020203" pitchFamily="34" charset="0"/>
              </a:rPr>
              <a:t>On demand</a:t>
            </a:r>
          </a:p>
          <a:p>
            <a:pPr algn="l">
              <a:buFont typeface="Arial" panose="020B0604020202020204" pitchFamily="34" charset="0"/>
              <a:buChar char="•"/>
            </a:pPr>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Run scheduled assessment</a:t>
            </a:r>
          </a:p>
          <a:p>
            <a:pPr algn="l"/>
            <a:r>
              <a:rPr lang="en-US" b="0" i="0" dirty="0">
                <a:solidFill>
                  <a:srgbClr val="E6E6E6"/>
                </a:solidFill>
                <a:effectLst/>
                <a:latin typeface="Segoe UI" panose="020B0502040204020203" pitchFamily="34" charset="0"/>
              </a:rPr>
              <a:t>If you set a schedule in the configuration blade, an assessment runs automatically at the specified date and time. Choose </a:t>
            </a:r>
            <a:r>
              <a:rPr lang="en-US" b="1" i="0" dirty="0">
                <a:solidFill>
                  <a:srgbClr val="E6E6E6"/>
                </a:solidFill>
                <a:effectLst/>
                <a:latin typeface="Segoe UI" panose="020B0502040204020203" pitchFamily="34" charset="0"/>
              </a:rPr>
              <a:t>Configuration</a:t>
            </a:r>
            <a:r>
              <a:rPr lang="en-US" b="0" i="0" dirty="0">
                <a:solidFill>
                  <a:srgbClr val="E6E6E6"/>
                </a:solidFill>
                <a:effectLst/>
                <a:latin typeface="Segoe UI" panose="020B0502040204020203" pitchFamily="34" charset="0"/>
              </a:rPr>
              <a:t> to modify your assessment schedule. Once you provide a new schedule, the previous schedule is overwritten.</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Run on demand assessment</a:t>
            </a:r>
          </a:p>
          <a:p>
            <a:pPr algn="l"/>
            <a:r>
              <a:rPr lang="en-US" b="0" i="0" dirty="0">
                <a:solidFill>
                  <a:srgbClr val="E6E6E6"/>
                </a:solidFill>
                <a:effectLst/>
                <a:latin typeface="Segoe UI" panose="020B0502040204020203" pitchFamily="34" charset="0"/>
              </a:rPr>
              <a:t>After the SQL Assessment feature is enabled for your SQL Server VM, it's possible to run an assessment on demand. To do so, select </a:t>
            </a:r>
            <a:r>
              <a:rPr lang="en-US" b="1" i="0" dirty="0">
                <a:solidFill>
                  <a:srgbClr val="E6E6E6"/>
                </a:solidFill>
                <a:effectLst/>
                <a:latin typeface="Segoe UI" panose="020B0502040204020203" pitchFamily="34" charset="0"/>
              </a:rPr>
              <a:t>Run assessment</a:t>
            </a:r>
            <a:r>
              <a:rPr lang="en-US" b="0" i="0" dirty="0">
                <a:solidFill>
                  <a:srgbClr val="E6E6E6"/>
                </a:solidFill>
                <a:effectLst/>
                <a:latin typeface="Segoe UI" panose="020B0502040204020203" pitchFamily="34" charset="0"/>
              </a:rPr>
              <a:t> from the SQL Assessment blade of the </a:t>
            </a:r>
            <a:r>
              <a:rPr lang="en-US" b="0" i="0" u="none" strike="noStrike" dirty="0">
                <a:solidFill>
                  <a:srgbClr val="E6E6E6"/>
                </a:solidFill>
                <a:effectLst/>
                <a:latin typeface="Segoe UI" panose="020B0502040204020203" pitchFamily="34" charset="0"/>
                <a:hlinkClick r:id="rId3"/>
              </a:rPr>
              <a:t>Azure portal SQL Server VM resource</a:t>
            </a:r>
            <a:r>
              <a:rPr lang="en-US" b="0" i="0" dirty="0">
                <a:solidFill>
                  <a:srgbClr val="E6E6E6"/>
                </a:solidFill>
                <a:effectLst/>
                <a:latin typeface="Segoe UI" panose="020B0502040204020203" pitchFamily="34" charset="0"/>
              </a:rPr>
              <a:t> page.</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Server on Azure VMs, see </a:t>
            </a:r>
            <a:r>
              <a:rPr lang="en-US" b="0" i="0" u="none" strike="noStrike" dirty="0">
                <a:solidFill>
                  <a:srgbClr val="E6E6E6"/>
                </a:solidFill>
                <a:effectLst/>
                <a:latin typeface="Segoe UI" panose="020B0502040204020203" pitchFamily="34" charset="0"/>
                <a:hlinkClick r:id="rId4"/>
              </a:rPr>
              <a:t>Manage SQL Server VMs by using the Azure portal</a:t>
            </a:r>
            <a:endParaRPr lang="en-US" b="0" i="0" dirty="0">
              <a:solidFill>
                <a:srgbClr val="E6E6E6"/>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79594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516877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385152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B7899E10-A5AD-4F10-B12D-0B5A23C4BFEA}"/>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38881518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BAEA856-D6E1-42A4-9356-6BE13B26CF23}" type="datetimeFigureOut">
              <a:rPr lang="en-US" smtClean="0">
                <a:solidFill>
                  <a:prstClr val="black">
                    <a:tint val="75000"/>
                  </a:prstClr>
                </a:solidFill>
              </a:rPr>
              <a:pPr/>
              <a:t>1/31/2022</a:t>
            </a:fld>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
        <p:nvSpPr>
          <p:cNvPr id="7" name="Title 5">
            <a:extLst>
              <a:ext uri="{FF2B5EF4-FFF2-40B4-BE49-F238E27FC236}">
                <a16:creationId xmlns:a16="http://schemas.microsoft.com/office/drawing/2014/main" id="{B358B76C-5071-47D4-9FDA-3D4BD8A3AF71}"/>
              </a:ext>
            </a:extLst>
          </p:cNvPr>
          <p:cNvSpPr txBox="1">
            <a:spLocks/>
          </p:cNvSpPr>
          <p:nvPr userDrawn="1"/>
        </p:nvSpPr>
        <p:spPr>
          <a:xfrm>
            <a:off x="269238" y="17488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258495287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Tree>
    <p:extLst>
      <p:ext uri="{BB962C8B-B14F-4D97-AF65-F5344CB8AC3E}">
        <p14:creationId xmlns:p14="http://schemas.microsoft.com/office/powerpoint/2010/main" val="228262457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14" y="0"/>
            <a:ext cx="12448814" cy="6989885"/>
          </a:xfrm>
          <a:prstGeom prst="rect">
            <a:avLst/>
          </a:prstGeom>
        </p:spPr>
      </p:pic>
      <p:sp>
        <p:nvSpPr>
          <p:cNvPr id="10" name="Rectangle 9"/>
          <p:cNvSpPr/>
          <p:nvPr userDrawn="1"/>
        </p:nvSpPr>
        <p:spPr bwMode="auto">
          <a:xfrm>
            <a:off x="-87923" y="3"/>
            <a:ext cx="9270023" cy="6854391"/>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0" rIns="0" bIns="46620" numCol="1" rtlCol="0" anchor="ctr" anchorCtr="0" compatLnSpc="1">
            <a:prstTxWarp prst="textNoShape">
              <a:avLst/>
            </a:prstTxWarp>
          </a:bodyPr>
          <a:lstStyle/>
          <a:p>
            <a:pPr algn="ctr" defTabSz="913666"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2" y="1350387"/>
            <a:ext cx="12206593" cy="3642658"/>
          </a:xfrm>
          <a:prstGeom prst="rect">
            <a:avLst/>
          </a:prstGeom>
          <a:solidFill>
            <a:schemeClr val="accent4">
              <a:lumMod val="50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5" y="1404307"/>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5" y="319993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41256983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7683" y="3436157"/>
            <a:ext cx="6276531" cy="1793104"/>
          </a:xfrm>
          <a:prstGeom prst="rect">
            <a:avLst/>
          </a:prstGeom>
          <a:noFill/>
        </p:spPr>
        <p:txBody>
          <a:bodyPr lIns="146304" tIns="91440" rIns="146304" bIns="91440" anchor="t" anchorCtr="0"/>
          <a:lstStyle>
            <a:lvl1pPr>
              <a:defRPr sz="3970" spc="-74" baseline="0">
                <a:gradFill>
                  <a:gsLst>
                    <a:gs pos="57576">
                      <a:srgbClr val="FFFFFF"/>
                    </a:gs>
                    <a:gs pos="35000">
                      <a:srgbClr val="FFFFFF"/>
                    </a:gs>
                  </a:gsLst>
                  <a:lin ang="5400000" scaled="0"/>
                </a:gradFill>
              </a:defRPr>
            </a:lvl1pPr>
          </a:lstStyle>
          <a:p>
            <a:r>
              <a:rPr lang="en-US" dirty="0"/>
              <a:t>Presentation title</a:t>
            </a:r>
          </a:p>
        </p:txBody>
      </p:sp>
      <p:pic>
        <p:nvPicPr>
          <p:cNvPr id="4" name="Picture 3" descr="A picture containing bridge, water, light&#10;&#10;Description automatically generated">
            <a:extLst>
              <a:ext uri="{FF2B5EF4-FFF2-40B4-BE49-F238E27FC236}">
                <a16:creationId xmlns:a16="http://schemas.microsoft.com/office/drawing/2014/main" id="{80C823BC-3C70-4E25-8C60-5F08CB2341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1924"/>
            <a:ext cx="12192000" cy="6889924"/>
          </a:xfrm>
          <a:prstGeom prst="rect">
            <a:avLst/>
          </a:prstGeom>
        </p:spPr>
      </p:pic>
      <p:sp>
        <p:nvSpPr>
          <p:cNvPr id="3" name="Rectangle 2">
            <a:extLst>
              <a:ext uri="{FF2B5EF4-FFF2-40B4-BE49-F238E27FC236}">
                <a16:creationId xmlns:a16="http://schemas.microsoft.com/office/drawing/2014/main" id="{42831091-A48F-48BB-AD7D-E929D0C062C1}"/>
              </a:ext>
            </a:extLst>
          </p:cNvPr>
          <p:cNvSpPr/>
          <p:nvPr userDrawn="1"/>
        </p:nvSpPr>
        <p:spPr>
          <a:xfrm>
            <a:off x="0" y="2698812"/>
            <a:ext cx="3870664" cy="4159188"/>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5174A23-19F6-4907-A7F6-4B2A1ECCF589}"/>
              </a:ext>
            </a:extLst>
          </p:cNvPr>
          <p:cNvSpPr/>
          <p:nvPr userDrawn="1"/>
        </p:nvSpPr>
        <p:spPr>
          <a:xfrm rot="5400000">
            <a:off x="1529920" y="2621130"/>
            <a:ext cx="2684755" cy="5744595"/>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D5FB3BA-7A26-4890-A55F-398A4768CE1F}"/>
              </a:ext>
            </a:extLst>
          </p:cNvPr>
          <p:cNvSpPr/>
          <p:nvPr userDrawn="1"/>
        </p:nvSpPr>
        <p:spPr>
          <a:xfrm>
            <a:off x="1036305" y="3342877"/>
            <a:ext cx="3870664" cy="1793104"/>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0191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69895975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C72D31-A613-4575-8C30-1B5C8526389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461A2B3-F991-45BD-8BA7-FA0CE24140A3}"/>
              </a:ext>
            </a:extLst>
          </p:cNvPr>
          <p:cNvSpPr>
            <a:spLocks noGrp="1"/>
          </p:cNvSpPr>
          <p:nvPr>
            <p:ph type="body" sz="quarter" idx="10"/>
          </p:nvPr>
        </p:nvSpPr>
        <p:spPr>
          <a:xfrm>
            <a:off x="588263" y="1044575"/>
            <a:ext cx="11018520" cy="307777"/>
          </a:xfrm>
        </p:spPr>
        <p:txBody>
          <a:bodyPr wrap="square" lIns="0" tIns="0" rIns="0" bIns="0">
            <a:spAutoFit/>
          </a:bodyPr>
          <a:lstStyle>
            <a:lvl1pPr marL="0" indent="0">
              <a:buNone/>
              <a:defRPr lang="en-US" sz="2000" dirty="0" smtClean="0">
                <a:solidFill>
                  <a:schemeClr val="accent1"/>
                </a:solidFill>
                <a:latin typeface="+mj-lt"/>
                <a:cs typeface="+mn-cs"/>
              </a:defRPr>
            </a:lvl1pPr>
          </a:lstStyle>
          <a:p>
            <a:pPr marL="0" lvl="0" defTabSz="914367"/>
            <a:r>
              <a:rPr lang="en-US"/>
              <a:t>Click to edit Master text styles</a:t>
            </a:r>
          </a:p>
        </p:txBody>
      </p:sp>
    </p:spTree>
    <p:extLst>
      <p:ext uri="{BB962C8B-B14F-4D97-AF65-F5344CB8AC3E}">
        <p14:creationId xmlns:p14="http://schemas.microsoft.com/office/powerpoint/2010/main" val="137469324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8263" y="2271760"/>
            <a:ext cx="4896264" cy="1157240"/>
          </a:xfrm>
        </p:spPr>
        <p:txBody>
          <a:bodyPr wrap="square">
            <a:spAutoFit/>
          </a:bodyPr>
          <a:lstStyle>
            <a:lvl1pPr marL="0" indent="0">
              <a:lnSpc>
                <a:spcPct val="110000"/>
              </a:lnSpc>
              <a:spcBef>
                <a:spcPts val="1800"/>
              </a:spcBef>
              <a:buFont typeface="Arial" panose="020B0604020202020204" pitchFamily="34" charset="0"/>
              <a:buNone/>
              <a:defRPr sz="1600">
                <a:latin typeface="+mn-lt"/>
              </a:defRPr>
            </a:lvl1pPr>
            <a:lvl2pPr marL="228600" indent="0">
              <a:buFont typeface="Arial" panose="020B0604020202020204" pitchFamily="34" charset="0"/>
              <a:buNone/>
              <a:defRPr sz="1400"/>
            </a:lvl2pPr>
            <a:lvl3pPr marL="457200" indent="0">
              <a:buFont typeface="Arial" panose="020B0604020202020204" pitchFamily="34" charset="0"/>
              <a:buNone/>
              <a:defRPr sz="1100"/>
            </a:lvl3pPr>
            <a:lvl4pPr marL="685800" indent="0">
              <a:buFont typeface="Arial" panose="020B0604020202020204" pitchFamily="34" charset="0"/>
              <a:buNone/>
              <a:defRPr sz="1050"/>
            </a:lvl4pPr>
            <a:lvl5pPr marL="914400" indent="0">
              <a:buFont typeface="Arial" panose="020B0604020202020204" pitchFamily="34" charse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5EBC9C4-692B-4264-85A6-FAA30AA09ECB}"/>
              </a:ext>
            </a:extLst>
          </p:cNvPr>
          <p:cNvSpPr>
            <a:spLocks noGrp="1"/>
          </p:cNvSpPr>
          <p:nvPr>
            <p:ph type="title"/>
          </p:nvPr>
        </p:nvSpPr>
        <p:spPr>
          <a:xfrm>
            <a:off x="588263" y="457200"/>
            <a:ext cx="4896264" cy="984885"/>
          </a:xfrm>
        </p:spPr>
        <p:txBody>
          <a:bodyPr>
            <a:spAutoFit/>
          </a:bodyPr>
          <a:lstStyle>
            <a:lvl1pPr>
              <a:defRPr sz="3200"/>
            </a:lvl1pPr>
          </a:lstStyle>
          <a:p>
            <a:r>
              <a:rPr lang="en-US"/>
              <a:t>Click to edit Master title style</a:t>
            </a:r>
          </a:p>
        </p:txBody>
      </p:sp>
    </p:spTree>
    <p:extLst>
      <p:ext uri="{BB962C8B-B14F-4D97-AF65-F5344CB8AC3E}">
        <p14:creationId xmlns:p14="http://schemas.microsoft.com/office/powerpoint/2010/main" val="3435383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07912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11790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047864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3211197"/>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48936802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01268577"/>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17730104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98881800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7497790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43766794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09331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6817537"/>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04683369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194900020"/>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50767392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25750951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402705541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73136825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83603449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5034617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037537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94776500"/>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8543023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87101660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03227005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01353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879552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12240218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519248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29224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2568904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40679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31/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373644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788457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977287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268046737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298161889"/>
      </p:ext>
    </p:extLst>
  </p:cSld>
  <p:clrMapOvr>
    <a:masterClrMapping/>
  </p:clrMapOvr>
  <p:transition>
    <p:fade/>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46110544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1/31/2022</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22787033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9461840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60543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594947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857358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6038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Blank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9162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994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18050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5138233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096419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723107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lide Square Photo">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17370280"/>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Slide Square Photo 1">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557713383"/>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Square Photo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0162644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01124877"/>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9286967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82772597"/>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0981470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1067348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3390460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4599464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725496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525230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408422347"/>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648550370"/>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Color">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0018800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10025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Light Color">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77721378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64458465"/>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526082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67743451"/>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5423244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4606453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3793668"/>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83947781"/>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19526472"/>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32648246"/>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20030523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5303090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80497578"/>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0636397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6785994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4782194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4680563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8693649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1383245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5016156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7805444"/>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962734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65999112"/>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443146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154313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8358648"/>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colo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2881017"/>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872805744"/>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35328031"/>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745386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5">
            <a:extLst>
              <a:ext uri="{FF2B5EF4-FFF2-40B4-BE49-F238E27FC236}">
                <a16:creationId xmlns:a16="http://schemas.microsoft.com/office/drawing/2014/main" id="{B97B15E4-CDBA-4931-BA44-2308C213F725}"/>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602287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150780655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9" Type="http://schemas.openxmlformats.org/officeDocument/2006/relationships/slideLayout" Target="../slideLayouts/slideLayout43.xml"/><Relationship Id="rId21" Type="http://schemas.openxmlformats.org/officeDocument/2006/relationships/slideLayout" Target="../slideLayouts/slideLayout25.xml"/><Relationship Id="rId34" Type="http://schemas.openxmlformats.org/officeDocument/2006/relationships/slideLayout" Target="../slideLayouts/slideLayout38.xml"/><Relationship Id="rId42" Type="http://schemas.openxmlformats.org/officeDocument/2006/relationships/slideLayout" Target="../slideLayouts/slideLayout46.xml"/><Relationship Id="rId47" Type="http://schemas.openxmlformats.org/officeDocument/2006/relationships/slideLayout" Target="../slideLayouts/slideLayout51.xml"/><Relationship Id="rId50" Type="http://schemas.openxmlformats.org/officeDocument/2006/relationships/theme" Target="../theme/theme2.xml"/><Relationship Id="rId7" Type="http://schemas.openxmlformats.org/officeDocument/2006/relationships/slideLayout" Target="../slideLayouts/slideLayout1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9" Type="http://schemas.openxmlformats.org/officeDocument/2006/relationships/slideLayout" Target="../slideLayouts/slideLayout33.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32" Type="http://schemas.openxmlformats.org/officeDocument/2006/relationships/slideLayout" Target="../slideLayouts/slideLayout36.xml"/><Relationship Id="rId37" Type="http://schemas.openxmlformats.org/officeDocument/2006/relationships/slideLayout" Target="../slideLayouts/slideLayout41.xml"/><Relationship Id="rId40" Type="http://schemas.openxmlformats.org/officeDocument/2006/relationships/slideLayout" Target="../slideLayouts/slideLayout44.xml"/><Relationship Id="rId45" Type="http://schemas.openxmlformats.org/officeDocument/2006/relationships/slideLayout" Target="../slideLayouts/slideLayout49.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36" Type="http://schemas.openxmlformats.org/officeDocument/2006/relationships/slideLayout" Target="../slideLayouts/slideLayout40.xml"/><Relationship Id="rId49" Type="http://schemas.openxmlformats.org/officeDocument/2006/relationships/slideLayout" Target="../slideLayouts/slideLayout53.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slideLayout" Target="../slideLayouts/slideLayout35.xml"/><Relationship Id="rId44" Type="http://schemas.openxmlformats.org/officeDocument/2006/relationships/slideLayout" Target="../slideLayouts/slideLayout48.xml"/><Relationship Id="rId52" Type="http://schemas.openxmlformats.org/officeDocument/2006/relationships/image" Target="../media/image2.png"/><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 Id="rId30" Type="http://schemas.openxmlformats.org/officeDocument/2006/relationships/slideLayout" Target="../slideLayouts/slideLayout34.xml"/><Relationship Id="rId35" Type="http://schemas.openxmlformats.org/officeDocument/2006/relationships/slideLayout" Target="../slideLayouts/slideLayout39.xml"/><Relationship Id="rId43" Type="http://schemas.openxmlformats.org/officeDocument/2006/relationships/slideLayout" Target="../slideLayouts/slideLayout47.xml"/><Relationship Id="rId48" Type="http://schemas.openxmlformats.org/officeDocument/2006/relationships/slideLayout" Target="../slideLayouts/slideLayout52.xml"/><Relationship Id="rId8" Type="http://schemas.openxmlformats.org/officeDocument/2006/relationships/slideLayout" Target="../slideLayouts/slideLayout12.xml"/><Relationship Id="rId51" Type="http://schemas.openxmlformats.org/officeDocument/2006/relationships/image" Target="../media/image1.emf"/><Relationship Id="rId3" Type="http://schemas.openxmlformats.org/officeDocument/2006/relationships/slideLayout" Target="../slideLayouts/slideLayout7.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33" Type="http://schemas.openxmlformats.org/officeDocument/2006/relationships/slideLayout" Target="../slideLayouts/slideLayout37.xml"/><Relationship Id="rId38" Type="http://schemas.openxmlformats.org/officeDocument/2006/relationships/slideLayout" Target="../slideLayouts/slideLayout42.xml"/><Relationship Id="rId46" Type="http://schemas.openxmlformats.org/officeDocument/2006/relationships/slideLayout" Target="../slideLayouts/slideLayout50.xml"/><Relationship Id="rId20" Type="http://schemas.openxmlformats.org/officeDocument/2006/relationships/slideLayout" Target="../slideLayouts/slideLayout24.xml"/><Relationship Id="rId41" Type="http://schemas.openxmlformats.org/officeDocument/2006/relationships/slideLayout" Target="../slideLayouts/slideLayout45.xml"/><Relationship Id="rId1" Type="http://schemas.openxmlformats.org/officeDocument/2006/relationships/slideLayout" Target="../slideLayouts/slideLayout5.xml"/><Relationship Id="rId6"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9" Type="http://schemas.openxmlformats.org/officeDocument/2006/relationships/slideLayout" Target="../slideLayouts/slideLayout92.xml"/><Relationship Id="rId21" Type="http://schemas.openxmlformats.org/officeDocument/2006/relationships/slideLayout" Target="../slideLayouts/slideLayout74.xml"/><Relationship Id="rId34" Type="http://schemas.openxmlformats.org/officeDocument/2006/relationships/slideLayout" Target="../slideLayouts/slideLayout87.xml"/><Relationship Id="rId42" Type="http://schemas.openxmlformats.org/officeDocument/2006/relationships/slideLayout" Target="../slideLayouts/slideLayout95.xml"/><Relationship Id="rId47" Type="http://schemas.openxmlformats.org/officeDocument/2006/relationships/tags" Target="../tags/tag2.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9" Type="http://schemas.openxmlformats.org/officeDocument/2006/relationships/slideLayout" Target="../slideLayouts/slideLayout82.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37" Type="http://schemas.openxmlformats.org/officeDocument/2006/relationships/slideLayout" Target="../slideLayouts/slideLayout90.xml"/><Relationship Id="rId40" Type="http://schemas.openxmlformats.org/officeDocument/2006/relationships/slideLayout" Target="../slideLayouts/slideLayout93.xml"/><Relationship Id="rId45" Type="http://schemas.openxmlformats.org/officeDocument/2006/relationships/theme" Target="../theme/theme3.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slideLayout" Target="../slideLayouts/slideLayout89.xml"/><Relationship Id="rId49" Type="http://schemas.openxmlformats.org/officeDocument/2006/relationships/image" Target="../media/image16.emf"/><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4" Type="http://schemas.openxmlformats.org/officeDocument/2006/relationships/slideLayout" Target="../slideLayouts/slideLayout97.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slideLayout" Target="../slideLayouts/slideLayout88.xml"/><Relationship Id="rId43" Type="http://schemas.openxmlformats.org/officeDocument/2006/relationships/slideLayout" Target="../slideLayouts/slideLayout96.xml"/><Relationship Id="rId48" Type="http://schemas.openxmlformats.org/officeDocument/2006/relationships/tags" Target="../tags/tag3.xml"/><Relationship Id="rId8" Type="http://schemas.openxmlformats.org/officeDocument/2006/relationships/slideLayout" Target="../slideLayouts/slideLayout61.xml"/><Relationship Id="rId3" Type="http://schemas.openxmlformats.org/officeDocument/2006/relationships/slideLayout" Target="../slideLayouts/slideLayout56.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38" Type="http://schemas.openxmlformats.org/officeDocument/2006/relationships/slideLayout" Target="../slideLayouts/slideLayout91.xml"/><Relationship Id="rId46" Type="http://schemas.openxmlformats.org/officeDocument/2006/relationships/tags" Target="../tags/tag1.xml"/><Relationship Id="rId20" Type="http://schemas.openxmlformats.org/officeDocument/2006/relationships/slideLayout" Target="../slideLayouts/slideLayout73.xml"/><Relationship Id="rId41" Type="http://schemas.openxmlformats.org/officeDocument/2006/relationships/slideLayout" Target="../slideLayouts/slideLayout94.xml"/><Relationship Id="rId1" Type="http://schemas.openxmlformats.org/officeDocument/2006/relationships/slideLayout" Target="../slideLayouts/slideLayout54.xml"/><Relationship Id="rId6"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image" Target="../media/image18.jpg"/><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4.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0" y="6549959"/>
            <a:ext cx="3721661" cy="307777"/>
          </a:xfrm>
          <a:prstGeom prst="rect">
            <a:avLst/>
          </a:prstGeom>
          <a:noFill/>
          <a:ln>
            <a:noFill/>
          </a:ln>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SQL Assessment Tool with IaaS Extensions</a:t>
            </a:r>
          </a:p>
        </p:txBody>
      </p:sp>
    </p:spTree>
    <p:extLst>
      <p:ext uri="{BB962C8B-B14F-4D97-AF65-F5344CB8AC3E}">
        <p14:creationId xmlns:p14="http://schemas.microsoft.com/office/powerpoint/2010/main" val="296159685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4932" r:id="rId3"/>
    <p:sldLayoutId id="2147484933" r:id="rId4"/>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5"/>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314547036"/>
      </p:ext>
    </p:extLst>
  </p:cSld>
  <p:clrMap bg1="lt1" tx1="dk1" bg2="lt2" tx2="dk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 id="2147484901" r:id="rId20"/>
    <p:sldLayoutId id="2147484902" r:id="rId21"/>
    <p:sldLayoutId id="2147484903" r:id="rId22"/>
    <p:sldLayoutId id="2147484904" r:id="rId23"/>
    <p:sldLayoutId id="2147484905" r:id="rId24"/>
    <p:sldLayoutId id="2147484906" r:id="rId25"/>
    <p:sldLayoutId id="2147484907" r:id="rId26"/>
    <p:sldLayoutId id="2147484908" r:id="rId27"/>
    <p:sldLayoutId id="2147484909" r:id="rId28"/>
    <p:sldLayoutId id="2147484910" r:id="rId29"/>
    <p:sldLayoutId id="2147484911" r:id="rId30"/>
    <p:sldLayoutId id="2147484912" r:id="rId31"/>
    <p:sldLayoutId id="2147484913" r:id="rId32"/>
    <p:sldLayoutId id="2147484914" r:id="rId33"/>
    <p:sldLayoutId id="2147484915" r:id="rId34"/>
    <p:sldLayoutId id="2147484916" r:id="rId35"/>
    <p:sldLayoutId id="2147484917" r:id="rId36"/>
    <p:sldLayoutId id="2147484918" r:id="rId37"/>
    <p:sldLayoutId id="2147484919" r:id="rId38"/>
    <p:sldLayoutId id="2147484920" r:id="rId39"/>
    <p:sldLayoutId id="2147484921" r:id="rId40"/>
    <p:sldLayoutId id="2147484922" r:id="rId41"/>
    <p:sldLayoutId id="2147484923" r:id="rId42"/>
    <p:sldLayoutId id="2147484924" r:id="rId43"/>
    <p:sldLayoutId id="2147484925" r:id="rId44"/>
    <p:sldLayoutId id="2147484926" r:id="rId45"/>
    <p:sldLayoutId id="2147484927" r:id="rId46"/>
    <p:sldLayoutId id="2147484928" r:id="rId47"/>
    <p:sldLayoutId id="2147484929" r:id="rId48"/>
    <p:sldLayoutId id="2147484930" r:id="rId4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1518802"/>
      </p:ext>
    </p:extLst>
  </p:cSld>
  <p:clrMap bg1="lt1" tx1="dk1" bg2="lt2" tx2="dk2" accent1="accent1" accent2="accent2" accent3="accent3" accent4="accent4" accent5="accent5" accent6="accent6" hlink="hlink" folHlink="folHlink"/>
  <p:sldLayoutIdLst>
    <p:sldLayoutId id="2147484937" r:id="rId1"/>
    <p:sldLayoutId id="2147484938" r:id="rId2"/>
    <p:sldLayoutId id="2147484939" r:id="rId3"/>
    <p:sldLayoutId id="2147484940" r:id="rId4"/>
    <p:sldLayoutId id="2147484941" r:id="rId5"/>
    <p:sldLayoutId id="2147484942" r:id="rId6"/>
    <p:sldLayoutId id="2147484943" r:id="rId7"/>
    <p:sldLayoutId id="2147484944" r:id="rId8"/>
    <p:sldLayoutId id="2147484945" r:id="rId9"/>
    <p:sldLayoutId id="2147484946" r:id="rId10"/>
    <p:sldLayoutId id="2147484947" r:id="rId11"/>
    <p:sldLayoutId id="2147484948" r:id="rId12"/>
    <p:sldLayoutId id="2147484949" r:id="rId13"/>
    <p:sldLayoutId id="2147484950" r:id="rId14"/>
    <p:sldLayoutId id="2147484951" r:id="rId15"/>
    <p:sldLayoutId id="2147484952" r:id="rId16"/>
    <p:sldLayoutId id="2147484953" r:id="rId17"/>
    <p:sldLayoutId id="2147484954" r:id="rId18"/>
    <p:sldLayoutId id="2147484955" r:id="rId19"/>
    <p:sldLayoutId id="2147484956" r:id="rId20"/>
    <p:sldLayoutId id="2147484957" r:id="rId21"/>
    <p:sldLayoutId id="2147484958" r:id="rId22"/>
    <p:sldLayoutId id="2147484959" r:id="rId23"/>
    <p:sldLayoutId id="2147484960" r:id="rId24"/>
    <p:sldLayoutId id="2147484961" r:id="rId25"/>
    <p:sldLayoutId id="2147484962" r:id="rId26"/>
    <p:sldLayoutId id="2147484963" r:id="rId27"/>
    <p:sldLayoutId id="2147484964" r:id="rId28"/>
    <p:sldLayoutId id="2147484965" r:id="rId29"/>
    <p:sldLayoutId id="2147484966" r:id="rId30"/>
    <p:sldLayoutId id="2147484967" r:id="rId31"/>
    <p:sldLayoutId id="2147484968" r:id="rId32"/>
    <p:sldLayoutId id="2147484969" r:id="rId33"/>
    <p:sldLayoutId id="2147484970" r:id="rId34"/>
    <p:sldLayoutId id="2147484971" r:id="rId35"/>
    <p:sldLayoutId id="2147484972" r:id="rId36"/>
    <p:sldLayoutId id="2147484973" r:id="rId37"/>
    <p:sldLayoutId id="2147484974" r:id="rId38"/>
    <p:sldLayoutId id="2147484975" r:id="rId39"/>
    <p:sldLayoutId id="2147484976" r:id="rId40"/>
    <p:sldLayoutId id="2147484977" r:id="rId41"/>
    <p:sldLayoutId id="2147484978" r:id="rId42"/>
    <p:sldLayoutId id="2147484979" r:id="rId43"/>
    <p:sldLayoutId id="2147484980"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18149" y="6531751"/>
            <a:ext cx="5542142" cy="307777"/>
          </a:xfrm>
          <a:prstGeom prst="rect">
            <a:avLst/>
          </a:prstGeom>
          <a:noFill/>
          <a:ln>
            <a:noFill/>
          </a:ln>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Accelerated Database Recovery</a:t>
            </a:r>
          </a:p>
        </p:txBody>
      </p:sp>
    </p:spTree>
    <p:extLst>
      <p:ext uri="{BB962C8B-B14F-4D97-AF65-F5344CB8AC3E}">
        <p14:creationId xmlns:p14="http://schemas.microsoft.com/office/powerpoint/2010/main" val="161035079"/>
      </p:ext>
    </p:extLst>
  </p:cSld>
  <p:clrMap bg1="lt1" tx1="dk1" bg2="lt2" tx2="dk2" accent1="accent1" accent2="accent2" accent3="accent3" accent4="accent4" accent5="accent5" accent6="accent6" hlink="hlink" folHlink="folHlink"/>
  <p:sldLayoutIdLst>
    <p:sldLayoutId id="2147484982" r:id="rId1"/>
    <p:sldLayoutId id="2147484983" r:id="rId2"/>
    <p:sldLayoutId id="2147484984" r:id="rId3"/>
    <p:sldLayoutId id="2147484985" r:id="rId4"/>
    <p:sldLayoutId id="2147484986" r:id="rId5"/>
    <p:sldLayoutId id="2147484987" r:id="rId6"/>
    <p:sldLayoutId id="2147484988" r:id="rId7"/>
    <p:sldLayoutId id="2147484989" r:id="rId8"/>
    <p:sldLayoutId id="2147484990" r:id="rId9"/>
    <p:sldLayoutId id="2147484991" r:id="rId10"/>
    <p:sldLayoutId id="2147484992" r:id="rId11"/>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4.xml"/><Relationship Id="rId1" Type="http://schemas.openxmlformats.org/officeDocument/2006/relationships/tags" Target="../tags/tag4.xm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103.xml"/><Relationship Id="rId6" Type="http://schemas.openxmlformats.org/officeDocument/2006/relationships/image" Target="../media/image24.png"/><Relationship Id="rId5" Type="http://schemas.openxmlformats.org/officeDocument/2006/relationships/image" Target="../media/image23.jpg"/><Relationship Id="rId4" Type="http://schemas.openxmlformats.org/officeDocument/2006/relationships/image" Target="../media/image22.png"/><Relationship Id="rId9" Type="http://schemas.openxmlformats.org/officeDocument/2006/relationships/image" Target="../media/image27.png"/></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28.png"/><Relationship Id="rId7" Type="http://schemas.openxmlformats.org/officeDocument/2006/relationships/diagramColors" Target="../diagrams/colors3.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96114" y="2834809"/>
            <a:ext cx="5199473" cy="1329595"/>
          </a:xfrm>
        </p:spPr>
        <p:txBody>
          <a:bodyPr/>
          <a:lstStyle/>
          <a:p>
            <a:r>
              <a:rPr lang="en-US" dirty="0"/>
              <a:t>SQL Assessment Tool with IaaS Extensions</a:t>
            </a:r>
            <a:br>
              <a:rPr lang="en-US" dirty="0"/>
            </a:br>
            <a:endParaRPr lang="en-US" dirty="0"/>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016FFA-2EB9-3045-A290-915E8AB463B0}"/>
              </a:ext>
            </a:extLst>
          </p:cNvPr>
          <p:cNvSpPr/>
          <p:nvPr/>
        </p:nvSpPr>
        <p:spPr>
          <a:xfrm>
            <a:off x="0" y="0"/>
            <a:ext cx="12191998"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E020A647-56F4-BD47-9924-3669AC42A150}"/>
              </a:ext>
            </a:extLst>
          </p:cNvPr>
          <p:cNvSpPr txBox="1">
            <a:spLocks/>
          </p:cNvSpPr>
          <p:nvPr/>
        </p:nvSpPr>
        <p:spPr>
          <a:xfrm>
            <a:off x="297872" y="67199"/>
            <a:ext cx="11596254"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a:solidFill>
                  <a:schemeClr val="accent5"/>
                </a:solidFill>
                <a:latin typeface="Segoe UI Semibold" panose="020B0502040204020203" pitchFamily="34" charset="0"/>
                <a:cs typeface="Segoe UI Semibold" panose="020B0502040204020203" pitchFamily="34" charset="0"/>
              </a:rPr>
              <a:t>Configure</a:t>
            </a:r>
            <a:r>
              <a:rPr kumimoji="0" lang="en-US" sz="3600" b="1" i="0" u="none" strike="noStrike" kern="1200" cap="none" spc="0" normalizeH="0" baseline="0" noProof="0" dirty="0">
                <a:ln>
                  <a:noFill/>
                </a:ln>
                <a:solidFill>
                  <a:schemeClr val="accent5"/>
                </a:solidFill>
                <a:effectLst/>
                <a:uLnTx/>
                <a:uFillTx/>
                <a:latin typeface="Segoe UI Semibold" panose="020B0502040204020203" pitchFamily="34" charset="0"/>
                <a:ea typeface="+mj-ea"/>
                <a:cs typeface="Segoe UI Semibold" panose="020B0502040204020203" pitchFamily="34" charset="0"/>
              </a:rPr>
              <a:t> SQL Assessments</a:t>
            </a:r>
          </a:p>
        </p:txBody>
      </p:sp>
      <p:pic>
        <p:nvPicPr>
          <p:cNvPr id="5" name="Picture 4" descr="Graphical user interface, text, application&#10;&#10;Description automatically generated">
            <a:extLst>
              <a:ext uri="{FF2B5EF4-FFF2-40B4-BE49-F238E27FC236}">
                <a16:creationId xmlns:a16="http://schemas.microsoft.com/office/drawing/2014/main" id="{D244D6BF-ABAE-4FF0-A5F7-1E9CC515C2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30062" y="914400"/>
            <a:ext cx="5678003" cy="531119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211304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016FFA-2EB9-3045-A290-915E8AB463B0}"/>
              </a:ext>
            </a:extLst>
          </p:cNvPr>
          <p:cNvSpPr/>
          <p:nvPr/>
        </p:nvSpPr>
        <p:spPr>
          <a:xfrm>
            <a:off x="0" y="0"/>
            <a:ext cx="12191998"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E020A647-56F4-BD47-9924-3669AC42A150}"/>
              </a:ext>
            </a:extLst>
          </p:cNvPr>
          <p:cNvSpPr txBox="1">
            <a:spLocks/>
          </p:cNvSpPr>
          <p:nvPr/>
        </p:nvSpPr>
        <p:spPr>
          <a:xfrm>
            <a:off x="297872" y="67199"/>
            <a:ext cx="11596254"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chemeClr val="accent5"/>
                </a:solidFill>
                <a:effectLst/>
                <a:uLnTx/>
                <a:uFillTx/>
                <a:latin typeface="Segoe UI Semibold" panose="020B0502040204020203" pitchFamily="34" charset="0"/>
                <a:ea typeface="+mj-ea"/>
                <a:cs typeface="Segoe UI Semibold" panose="020B0502040204020203" pitchFamily="34" charset="0"/>
              </a:rPr>
              <a:t>Run SQL Assessments</a:t>
            </a:r>
          </a:p>
        </p:txBody>
      </p:sp>
      <p:pic>
        <p:nvPicPr>
          <p:cNvPr id="6" name="Picture 5">
            <a:extLst>
              <a:ext uri="{FF2B5EF4-FFF2-40B4-BE49-F238E27FC236}">
                <a16:creationId xmlns:a16="http://schemas.microsoft.com/office/drawing/2014/main" id="{B5B9501C-1B79-4D8E-BB9B-0D0BD609EDA2}"/>
              </a:ext>
            </a:extLst>
          </p:cNvPr>
          <p:cNvPicPr>
            <a:picLocks noChangeAspect="1"/>
          </p:cNvPicPr>
          <p:nvPr/>
        </p:nvPicPr>
        <p:blipFill>
          <a:blip r:embed="rId3"/>
          <a:stretch>
            <a:fillRect/>
          </a:stretch>
        </p:blipFill>
        <p:spPr>
          <a:xfrm>
            <a:off x="1400754" y="1118562"/>
            <a:ext cx="9390491" cy="462087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700794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016FFA-2EB9-3045-A290-915E8AB463B0}"/>
              </a:ext>
            </a:extLst>
          </p:cNvPr>
          <p:cNvSpPr/>
          <p:nvPr/>
        </p:nvSpPr>
        <p:spPr>
          <a:xfrm>
            <a:off x="0" y="0"/>
            <a:ext cx="12191998"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E020A647-56F4-BD47-9924-3669AC42A150}"/>
              </a:ext>
            </a:extLst>
          </p:cNvPr>
          <p:cNvSpPr txBox="1">
            <a:spLocks/>
          </p:cNvSpPr>
          <p:nvPr/>
        </p:nvSpPr>
        <p:spPr>
          <a:xfrm>
            <a:off x="297872" y="67199"/>
            <a:ext cx="11596254"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a:solidFill>
                  <a:schemeClr val="accent5"/>
                </a:solidFill>
                <a:latin typeface="Segoe UI Semibold" panose="020B0502040204020203" pitchFamily="34" charset="0"/>
                <a:cs typeface="Segoe UI Semibold" panose="020B0502040204020203" pitchFamily="34" charset="0"/>
              </a:rPr>
              <a:t>View</a:t>
            </a:r>
            <a:r>
              <a:rPr kumimoji="0" lang="en-US" sz="3600" b="1" i="0" u="none" strike="noStrike" kern="1200" cap="none" spc="0" normalizeH="0" baseline="0" noProof="0" dirty="0">
                <a:ln>
                  <a:noFill/>
                </a:ln>
                <a:solidFill>
                  <a:schemeClr val="accent5"/>
                </a:solidFill>
                <a:effectLst/>
                <a:uLnTx/>
                <a:uFillTx/>
                <a:latin typeface="Segoe UI Semibold" panose="020B0502040204020203" pitchFamily="34" charset="0"/>
                <a:ea typeface="+mj-ea"/>
                <a:cs typeface="Segoe UI Semibold" panose="020B0502040204020203" pitchFamily="34" charset="0"/>
              </a:rPr>
              <a:t> SQL Assessments</a:t>
            </a:r>
          </a:p>
        </p:txBody>
      </p:sp>
      <p:pic>
        <p:nvPicPr>
          <p:cNvPr id="5" name="Picture 4">
            <a:extLst>
              <a:ext uri="{FF2B5EF4-FFF2-40B4-BE49-F238E27FC236}">
                <a16:creationId xmlns:a16="http://schemas.microsoft.com/office/drawing/2014/main" id="{AF735D70-5556-474F-AA96-D91B6D8F6CCE}"/>
              </a:ext>
            </a:extLst>
          </p:cNvPr>
          <p:cNvPicPr>
            <a:picLocks noChangeAspect="1"/>
          </p:cNvPicPr>
          <p:nvPr/>
        </p:nvPicPr>
        <p:blipFill>
          <a:blip r:embed="rId3"/>
          <a:stretch>
            <a:fillRect/>
          </a:stretch>
        </p:blipFill>
        <p:spPr>
          <a:xfrm>
            <a:off x="511881" y="989157"/>
            <a:ext cx="6715771" cy="3945829"/>
          </a:xfrm>
          <a:prstGeom prst="rect">
            <a:avLst/>
          </a:prstGeom>
          <a:ln>
            <a:noFill/>
          </a:ln>
          <a:effectLst>
            <a:outerShdw blurRad="190500" algn="tl" rotWithShape="0">
              <a:srgbClr val="000000">
                <a:alpha val="70000"/>
              </a:srgbClr>
            </a:outerShdw>
          </a:effectLst>
        </p:spPr>
      </p:pic>
      <p:pic>
        <p:nvPicPr>
          <p:cNvPr id="6" name="Picture 5">
            <a:extLst>
              <a:ext uri="{FF2B5EF4-FFF2-40B4-BE49-F238E27FC236}">
                <a16:creationId xmlns:a16="http://schemas.microsoft.com/office/drawing/2014/main" id="{9F28EAD3-5DF4-4045-8D4D-0D686CCE6F3A}"/>
              </a:ext>
            </a:extLst>
          </p:cNvPr>
          <p:cNvPicPr>
            <a:picLocks noChangeAspect="1"/>
          </p:cNvPicPr>
          <p:nvPr/>
        </p:nvPicPr>
        <p:blipFill>
          <a:blip r:embed="rId4"/>
          <a:stretch>
            <a:fillRect/>
          </a:stretch>
        </p:blipFill>
        <p:spPr>
          <a:xfrm>
            <a:off x="6670629" y="2505335"/>
            <a:ext cx="4473328" cy="378746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5560681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Demonstration</a:t>
            </a:r>
          </a:p>
        </p:txBody>
      </p:sp>
    </p:spTree>
    <p:extLst>
      <p:ext uri="{BB962C8B-B14F-4D97-AF65-F5344CB8AC3E}">
        <p14:creationId xmlns:p14="http://schemas.microsoft.com/office/powerpoint/2010/main" val="33194363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Questions?</a:t>
            </a:r>
          </a:p>
        </p:txBody>
      </p:sp>
    </p:spTree>
    <p:extLst>
      <p:ext uri="{BB962C8B-B14F-4D97-AF65-F5344CB8AC3E}">
        <p14:creationId xmlns:p14="http://schemas.microsoft.com/office/powerpoint/2010/main" val="23732691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Image result for mvp reconnect logo">
            <a:extLst>
              <a:ext uri="{FF2B5EF4-FFF2-40B4-BE49-F238E27FC236}">
                <a16:creationId xmlns:a16="http://schemas.microsoft.com/office/drawing/2014/main" id="{5F4A8CD3-D5A8-4143-9E3A-4F0707267D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9524" y="5549386"/>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175565F-9629-43D4-B37E-491F838227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2377" y="5187668"/>
            <a:ext cx="1576068" cy="1576068"/>
          </a:xfrm>
          <a:prstGeom prst="rect">
            <a:avLst/>
          </a:prstGeom>
        </p:spPr>
      </p:pic>
      <p:sp>
        <p:nvSpPr>
          <p:cNvPr id="14" name="TextBox 13">
            <a:extLst>
              <a:ext uri="{FF2B5EF4-FFF2-40B4-BE49-F238E27FC236}">
                <a16:creationId xmlns:a16="http://schemas.microsoft.com/office/drawing/2014/main" id="{58F322D1-571A-45D1-A3A3-EE3DD7FF3C6A}"/>
              </a:ext>
            </a:extLst>
          </p:cNvPr>
          <p:cNvSpPr txBox="1"/>
          <p:nvPr/>
        </p:nvSpPr>
        <p:spPr>
          <a:xfrm>
            <a:off x="3695811" y="1599016"/>
            <a:ext cx="7974384" cy="31700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3231" y="1716041"/>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2">
            <a:extLst>
              <a:ext uri="{FF2B5EF4-FFF2-40B4-BE49-F238E27FC236}">
                <a16:creationId xmlns:a16="http://schemas.microsoft.com/office/drawing/2014/main" id="{D060B391-0B37-4C2B-9530-1749C6AD67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08991" y="5179325"/>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1E5684DD-3E09-4869-BDAD-AF76AA4219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42219" y="518766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9E05C38-6E25-47B1-A21C-A0665965F6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5605" y="518766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567D70A4-BBFF-4866-A1EC-54FCAA0D07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31130" y="5166444"/>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52062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37B4494-DBBE-403A-BCB8-10BD3D001AE6}"/>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4400" dirty="0">
                <a:solidFill>
                  <a:schemeClr val="accent4">
                    <a:lumMod val="75000"/>
                  </a:schemeClr>
                </a:solidFill>
              </a:rPr>
              <a:t>What does this session cover?</a:t>
            </a:r>
          </a:p>
        </p:txBody>
      </p:sp>
      <p:graphicFrame>
        <p:nvGraphicFramePr>
          <p:cNvPr id="2" name="Diagram 1">
            <a:extLst>
              <a:ext uri="{FF2B5EF4-FFF2-40B4-BE49-F238E27FC236}">
                <a16:creationId xmlns:a16="http://schemas.microsoft.com/office/drawing/2014/main" id="{15845F8F-E666-4C81-8545-9803D889234C}"/>
              </a:ext>
            </a:extLst>
          </p:cNvPr>
          <p:cNvGraphicFramePr/>
          <p:nvPr>
            <p:extLst>
              <p:ext uri="{D42A27DB-BD31-4B8C-83A1-F6EECF244321}">
                <p14:modId xmlns:p14="http://schemas.microsoft.com/office/powerpoint/2010/main" val="2536218611"/>
              </p:ext>
            </p:extLst>
          </p:nvPr>
        </p:nvGraphicFramePr>
        <p:xfrm>
          <a:off x="899288" y="980894"/>
          <a:ext cx="10393424" cy="4798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677662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7573A6-5E94-4771-A4AE-0FD498195780}"/>
              </a:ext>
            </a:extLst>
          </p:cNvPr>
          <p:cNvSpPr>
            <a:spLocks noGrp="1"/>
          </p:cNvSpPr>
          <p:nvPr>
            <p:ph type="title"/>
          </p:nvPr>
        </p:nvSpPr>
        <p:spPr>
          <a:xfrm>
            <a:off x="558213" y="223956"/>
            <a:ext cx="10880725" cy="461665"/>
          </a:xfrm>
          <a:noFill/>
        </p:spPr>
        <p:txBody>
          <a:bodyPr/>
          <a:lstStyle/>
          <a:p>
            <a:r>
              <a:rPr lang="en-US" dirty="0">
                <a:solidFill>
                  <a:schemeClr val="accent5"/>
                </a:solidFill>
                <a:latin typeface="Segoe UI Semibold" panose="020B0702040204020203" pitchFamily="34" charset="0"/>
                <a:cs typeface="Segoe UI Semibold" panose="020B0702040204020203" pitchFamily="34" charset="0"/>
              </a:rPr>
              <a:t>What is the SQL Server IaaS Agent Extension?</a:t>
            </a:r>
          </a:p>
        </p:txBody>
      </p:sp>
      <p:graphicFrame>
        <p:nvGraphicFramePr>
          <p:cNvPr id="5" name="Diagram 4">
            <a:extLst>
              <a:ext uri="{FF2B5EF4-FFF2-40B4-BE49-F238E27FC236}">
                <a16:creationId xmlns:a16="http://schemas.microsoft.com/office/drawing/2014/main" id="{7E81906E-9EE0-493C-9326-EBE22954011B}"/>
              </a:ext>
            </a:extLst>
          </p:cNvPr>
          <p:cNvGraphicFramePr/>
          <p:nvPr>
            <p:extLst>
              <p:ext uri="{D42A27DB-BD31-4B8C-83A1-F6EECF244321}">
                <p14:modId xmlns:p14="http://schemas.microsoft.com/office/powerpoint/2010/main" val="1801220051"/>
              </p:ext>
            </p:extLst>
          </p:nvPr>
        </p:nvGraphicFramePr>
        <p:xfrm>
          <a:off x="826852" y="958572"/>
          <a:ext cx="10612086" cy="50823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84594405"/>
      </p:ext>
    </p:extLst>
  </p:cSld>
  <p:clrMapOvr>
    <a:masterClrMapping/>
  </p:clrMapOvr>
  <mc:AlternateContent xmlns:mc="http://schemas.openxmlformats.org/markup-compatibility/2006" xmlns:p14="http://schemas.microsoft.com/office/powerpoint/2010/main">
    <mc:Choice Requires="p14">
      <p:transition spd="slow" p14:dur="2000" advTm="102262"/>
    </mc:Choice>
    <mc:Fallback xmlns="">
      <p:transition spd="slow" advTm="102262"/>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016FFA-2EB9-3045-A290-915E8AB463B0}"/>
              </a:ext>
            </a:extLst>
          </p:cNvPr>
          <p:cNvSpPr/>
          <p:nvPr/>
        </p:nvSpPr>
        <p:spPr>
          <a:xfrm>
            <a:off x="0" y="0"/>
            <a:ext cx="12191998"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E020A647-56F4-BD47-9924-3669AC42A150}"/>
              </a:ext>
            </a:extLst>
          </p:cNvPr>
          <p:cNvSpPr txBox="1">
            <a:spLocks/>
          </p:cNvSpPr>
          <p:nvPr/>
        </p:nvSpPr>
        <p:spPr>
          <a:xfrm>
            <a:off x="354849" y="67640"/>
            <a:ext cx="11596254"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chemeClr val="accent5"/>
                </a:solidFill>
                <a:effectLst/>
                <a:uLnTx/>
                <a:uFillTx/>
                <a:latin typeface="Segoe UI Semibold" panose="020B0502040204020203" pitchFamily="34" charset="0"/>
                <a:ea typeface="+mj-ea"/>
                <a:cs typeface="Segoe UI Semibold" panose="020B0502040204020203" pitchFamily="34" charset="0"/>
              </a:rPr>
              <a:t>PaaS features for Azure SQL VMs</a:t>
            </a:r>
          </a:p>
        </p:txBody>
      </p:sp>
      <p:graphicFrame>
        <p:nvGraphicFramePr>
          <p:cNvPr id="4" name="Table 11">
            <a:extLst>
              <a:ext uri="{FF2B5EF4-FFF2-40B4-BE49-F238E27FC236}">
                <a16:creationId xmlns:a16="http://schemas.microsoft.com/office/drawing/2014/main" id="{ABE3EEB7-E438-44FD-BE62-06DF4539195B}"/>
              </a:ext>
            </a:extLst>
          </p:cNvPr>
          <p:cNvGraphicFramePr>
            <a:graphicFrameLocks noGrp="1"/>
          </p:cNvGraphicFramePr>
          <p:nvPr>
            <p:extLst>
              <p:ext uri="{D42A27DB-BD31-4B8C-83A1-F6EECF244321}">
                <p14:modId xmlns:p14="http://schemas.microsoft.com/office/powerpoint/2010/main" val="2557109189"/>
              </p:ext>
            </p:extLst>
          </p:nvPr>
        </p:nvGraphicFramePr>
        <p:xfrm>
          <a:off x="424774" y="821443"/>
          <a:ext cx="11128442" cy="5303225"/>
        </p:xfrm>
        <a:graphic>
          <a:graphicData uri="http://schemas.openxmlformats.org/drawingml/2006/table">
            <a:tbl>
              <a:tblPr firstRow="1" bandRow="1">
                <a:tableStyleId>{35758FB7-9AC5-4552-8A53-C91805E547FA}</a:tableStyleId>
              </a:tblPr>
              <a:tblGrid>
                <a:gridCol w="6495234">
                  <a:extLst>
                    <a:ext uri="{9D8B030D-6E8A-4147-A177-3AD203B41FA5}">
                      <a16:colId xmlns:a16="http://schemas.microsoft.com/office/drawing/2014/main" val="843109201"/>
                    </a:ext>
                  </a:extLst>
                </a:gridCol>
                <a:gridCol w="2316604">
                  <a:extLst>
                    <a:ext uri="{9D8B030D-6E8A-4147-A177-3AD203B41FA5}">
                      <a16:colId xmlns:a16="http://schemas.microsoft.com/office/drawing/2014/main" val="760073479"/>
                    </a:ext>
                  </a:extLst>
                </a:gridCol>
                <a:gridCol w="2316604">
                  <a:extLst>
                    <a:ext uri="{9D8B030D-6E8A-4147-A177-3AD203B41FA5}">
                      <a16:colId xmlns:a16="http://schemas.microsoft.com/office/drawing/2014/main" val="1265585278"/>
                    </a:ext>
                  </a:extLst>
                </a:gridCol>
              </a:tblGrid>
              <a:tr h="421329">
                <a:tc rowSpan="2">
                  <a:txBody>
                    <a:bodyPr/>
                    <a:lstStyle/>
                    <a:p>
                      <a:pPr marL="6350" indent="0" algn="ctr" defTabSz="914400" rtl="0" eaLnBrk="1" latinLnBrk="0" hangingPunct="1">
                        <a:tabLst/>
                      </a:pPr>
                      <a:r>
                        <a:rPr lang="en-US" sz="2000" b="1" kern="1200" dirty="0">
                          <a:solidFill>
                            <a:schemeClr val="bg1"/>
                          </a:solidFill>
                        </a:rPr>
                        <a:t>Features of SQL IaaS Extensions</a:t>
                      </a:r>
                      <a:endParaRPr lang="en-US" sz="2000" b="1" i="0" kern="1200" dirty="0">
                        <a:solidFill>
                          <a:schemeClr val="bg1"/>
                        </a:solidFill>
                        <a:latin typeface="Segoe UI Semibold" panose="020B0502040204020203" pitchFamily="34" charset="0"/>
                        <a:ea typeface="+mn-ea"/>
                        <a:cs typeface="Segoe UI Semibold" panose="020B0502040204020203" pitchFamily="34" charset="0"/>
                      </a:endParaRPr>
                    </a:p>
                  </a:txBody>
                  <a:tcPr marL="122784" marR="122784" marT="61392" marB="61392" anchor="ctr"/>
                </a:tc>
                <a:tc gridSpan="2">
                  <a:txBody>
                    <a:bodyPr/>
                    <a:lstStyle/>
                    <a:p>
                      <a:pPr marL="6350" indent="0" algn="ctr">
                        <a:tabLst/>
                      </a:pPr>
                      <a:r>
                        <a:rPr lang="en-US" sz="2000" b="1">
                          <a:solidFill>
                            <a:schemeClr val="bg1"/>
                          </a:solidFill>
                        </a:rPr>
                        <a:t>Extensions enabled</a:t>
                      </a:r>
                      <a:endParaRPr lang="en-US" sz="2000" b="1" i="0">
                        <a:solidFill>
                          <a:schemeClr val="bg1"/>
                        </a:solidFill>
                        <a:latin typeface="Segoe UI Semibold" panose="020B0502040204020203" pitchFamily="34" charset="0"/>
                        <a:cs typeface="Segoe UI Semibold" panose="020B0502040204020203" pitchFamily="34" charset="0"/>
                      </a:endParaRPr>
                    </a:p>
                  </a:txBody>
                  <a:tcPr marL="122784" marR="122784" marT="61392" marB="61392" anchor="ctr"/>
                </a:tc>
                <a:tc hMerge="1">
                  <a:txBody>
                    <a:bodyPr/>
                    <a:lstStyle/>
                    <a:p>
                      <a:pPr marL="6350" indent="0" algn="ctr">
                        <a:tabLst/>
                      </a:pPr>
                      <a:endParaRPr lang="en-US" sz="1400" b="1" i="0">
                        <a:solidFill>
                          <a:srgbClr val="50E6FF"/>
                        </a:solidFill>
                        <a:latin typeface="Segoe UI Semibold" panose="020B0502040204020203" pitchFamily="34" charset="0"/>
                        <a:cs typeface="Segoe UI Semibold" panose="020B0502040204020203" pitchFamily="34" charset="0"/>
                      </a:endParaRPr>
                    </a:p>
                  </a:txBody>
                  <a:tcPr marL="122784" marR="122784" marT="61392" marB="61392" anchor="ctr">
                    <a:lnL w="9525" cap="flat" cmpd="sng" algn="ctr">
                      <a:solidFill>
                        <a:srgbClr val="0078D4"/>
                      </a:solidFill>
                      <a:prstDash val="solid"/>
                      <a:round/>
                      <a:headEnd type="none" w="med" len="med"/>
                      <a:tailEnd type="none" w="med" len="med"/>
                    </a:lnL>
                    <a:lnR w="9525" cap="flat" cmpd="sng" algn="ctr">
                      <a:solidFill>
                        <a:srgbClr val="0078D4"/>
                      </a:solidFill>
                      <a:prstDash val="solid"/>
                      <a:round/>
                      <a:headEnd type="none" w="med" len="med"/>
                      <a:tailEnd type="none" w="med" len="med"/>
                    </a:lnR>
                    <a:lnT w="9525" cap="flat" cmpd="sng" algn="ctr">
                      <a:solidFill>
                        <a:srgbClr val="0078D4"/>
                      </a:solidFill>
                      <a:prstDash val="solid"/>
                      <a:round/>
                      <a:headEnd type="none" w="med" len="med"/>
                      <a:tailEnd type="none" w="med" len="med"/>
                    </a:lnT>
                    <a:lnB w="9525"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gradFill>
                      <a:gsLst>
                        <a:gs pos="0">
                          <a:srgbClr val="0078D4"/>
                        </a:gs>
                        <a:gs pos="90000">
                          <a:srgbClr val="0070C0"/>
                        </a:gs>
                      </a:gsLst>
                      <a:lin ang="3000000" scaled="0"/>
                    </a:gradFill>
                  </a:tcPr>
                </a:tc>
                <a:extLst>
                  <a:ext uri="{0D108BD9-81ED-4DB2-BD59-A6C34878D82A}">
                    <a16:rowId xmlns:a16="http://schemas.microsoft.com/office/drawing/2014/main" val="3459712232"/>
                  </a:ext>
                </a:extLst>
              </a:tr>
              <a:tr h="721670">
                <a:tc vMerge="1">
                  <a:txBody>
                    <a:bodyPr/>
                    <a:lstStyle/>
                    <a:p>
                      <a:endParaRPr lang="en-US"/>
                    </a:p>
                  </a:txBody>
                  <a:tcPr/>
                </a:tc>
                <a:tc>
                  <a:txBody>
                    <a:bodyPr/>
                    <a:lstStyle/>
                    <a:p>
                      <a:pPr marL="6350" indent="0" algn="ctr">
                        <a:tabLst/>
                      </a:pPr>
                      <a:r>
                        <a:rPr lang="en-US" sz="2000" b="1" dirty="0">
                          <a:solidFill>
                            <a:schemeClr val="bg1"/>
                          </a:solidFill>
                        </a:rPr>
                        <a:t>Lightweight mode</a:t>
                      </a:r>
                      <a:endParaRPr lang="en-US" sz="2000" b="1" i="0" dirty="0">
                        <a:solidFill>
                          <a:schemeClr val="bg1"/>
                        </a:solidFill>
                        <a:latin typeface="Segoe UI Semibold" panose="020B0502040204020203" pitchFamily="34" charset="0"/>
                        <a:cs typeface="Segoe UI Semibold" panose="020B0502040204020203" pitchFamily="34" charset="0"/>
                      </a:endParaRPr>
                    </a:p>
                  </a:txBody>
                  <a:tcPr marL="122784" marR="122784" marT="61392" marB="61392" anchor="ctr"/>
                </a:tc>
                <a:tc>
                  <a:txBody>
                    <a:bodyPr/>
                    <a:lstStyle/>
                    <a:p>
                      <a:pPr marL="6350" indent="0" algn="ctr">
                        <a:tabLst/>
                      </a:pPr>
                      <a:r>
                        <a:rPr lang="en-US" sz="2000" b="1" dirty="0">
                          <a:solidFill>
                            <a:schemeClr val="bg1"/>
                          </a:solidFill>
                        </a:rPr>
                        <a:t>Full mode</a:t>
                      </a:r>
                      <a:endParaRPr lang="en-US" sz="2000" b="1" i="0" dirty="0">
                        <a:solidFill>
                          <a:schemeClr val="bg1"/>
                        </a:solidFill>
                        <a:latin typeface="Segoe UI Semibold" panose="020B0502040204020203" pitchFamily="34" charset="0"/>
                        <a:cs typeface="Segoe UI Semibold" panose="020B0502040204020203" pitchFamily="34" charset="0"/>
                      </a:endParaRPr>
                    </a:p>
                  </a:txBody>
                  <a:tcPr marL="122784" marR="122784" marT="61392" marB="61392" anchor="ctr"/>
                </a:tc>
                <a:extLst>
                  <a:ext uri="{0D108BD9-81ED-4DB2-BD59-A6C34878D82A}">
                    <a16:rowId xmlns:a16="http://schemas.microsoft.com/office/drawing/2014/main" val="1178442811"/>
                  </a:ext>
                </a:extLst>
              </a:tr>
              <a:tr h="528776">
                <a:tc>
                  <a:txBody>
                    <a:bodyPr/>
                    <a:lstStyle/>
                    <a:p>
                      <a:r>
                        <a:rPr lang="en-US" sz="1400" b="1" spc="20" baseline="0" dirty="0">
                          <a:solidFill>
                            <a:schemeClr val="accent5"/>
                          </a:solidFill>
                          <a:latin typeface="+mn-lt"/>
                        </a:rPr>
                        <a:t>Visibility of SQL editions and configuration state via Portal Management</a:t>
                      </a:r>
                      <a:endParaRPr lang="en-US" sz="1400" b="1" i="0" spc="20" baseline="0" dirty="0">
                        <a:solidFill>
                          <a:schemeClr val="accent5"/>
                        </a:solidFill>
                        <a:latin typeface="+mn-lt"/>
                        <a:cs typeface="Segoe UI Semilight" panose="020B0402040204020203" pitchFamily="34" charset="0"/>
                      </a:endParaRPr>
                    </a:p>
                  </a:txBody>
                  <a:tcPr marL="122784" marR="122784" marT="61392" marB="61392" anchor="ctr">
                    <a:noFill/>
                  </a:tcPr>
                </a:tc>
                <a:tc>
                  <a:txBody>
                    <a:bodyPr/>
                    <a:lstStyle/>
                    <a:p>
                      <a:pPr algn="ctr"/>
                      <a:endParaRPr lang="en-US" sz="1400" b="1" i="0" spc="20" baseline="0" dirty="0">
                        <a:solidFill>
                          <a:schemeClr val="bg1"/>
                        </a:solidFill>
                        <a:latin typeface="+mn-lt"/>
                        <a:cs typeface="Segoe UI Semilight" panose="020B0402040204020203" pitchFamily="34" charset="0"/>
                      </a:endParaRPr>
                    </a:p>
                  </a:txBody>
                  <a:tcPr marL="122784" marR="122784" marT="61392" marB="61392" anchor="ctr">
                    <a:noFill/>
                  </a:tcPr>
                </a:tc>
                <a:tc>
                  <a:txBody>
                    <a:bodyPr/>
                    <a:lstStyle/>
                    <a:p>
                      <a:pPr algn="ctr"/>
                      <a:endParaRPr lang="en-US" sz="1400" b="1" i="0" spc="20" baseline="0" dirty="0">
                        <a:solidFill>
                          <a:schemeClr val="bg1"/>
                        </a:solidFill>
                        <a:latin typeface="+mn-lt"/>
                        <a:cs typeface="Segoe UI Semilight" panose="020B0402040204020203" pitchFamily="34" charset="0"/>
                      </a:endParaRPr>
                    </a:p>
                  </a:txBody>
                  <a:tcPr marL="122784" marR="122784" marT="61392" marB="61392" anchor="ctr">
                    <a:noFill/>
                  </a:tcPr>
                </a:tc>
                <a:extLst>
                  <a:ext uri="{0D108BD9-81ED-4DB2-BD59-A6C34878D82A}">
                    <a16:rowId xmlns:a16="http://schemas.microsoft.com/office/drawing/2014/main" val="1290895778"/>
                  </a:ext>
                </a:extLst>
              </a:tr>
              <a:tr h="496798">
                <a:tc>
                  <a:txBody>
                    <a:bodyPr/>
                    <a:lstStyle/>
                    <a:p>
                      <a:r>
                        <a:rPr lang="en-US" sz="1400" b="1" spc="20" baseline="0" dirty="0">
                          <a:solidFill>
                            <a:schemeClr val="accent5"/>
                          </a:solidFill>
                          <a:latin typeface="+mn-lt"/>
                        </a:rPr>
                        <a:t>Visibility to the licensing of SQL Server instances</a:t>
                      </a:r>
                    </a:p>
                  </a:txBody>
                  <a:tcPr marL="122784" marR="122784" marT="61392" marB="61392" anchor="ctr">
                    <a:noFill/>
                  </a:tcPr>
                </a:tc>
                <a:tc>
                  <a:txBody>
                    <a:bodyPr/>
                    <a:lstStyle/>
                    <a:p>
                      <a:endParaRPr lang="en-US" sz="1400" b="1" i="0" spc="20" baseline="0" dirty="0">
                        <a:solidFill>
                          <a:schemeClr val="bg1"/>
                        </a:solidFill>
                        <a:latin typeface="+mn-lt"/>
                        <a:cs typeface="Segoe UI Semilight" panose="020B0402040204020203" pitchFamily="34" charset="0"/>
                      </a:endParaRPr>
                    </a:p>
                  </a:txBody>
                  <a:tcPr marL="122784" marR="122784" marT="61392" marB="61392">
                    <a:noFill/>
                  </a:tcPr>
                </a:tc>
                <a:tc>
                  <a:txBody>
                    <a:bodyPr/>
                    <a:lstStyle/>
                    <a:p>
                      <a:endParaRPr lang="en-US" sz="1400" b="1" i="0" spc="20" baseline="0" dirty="0">
                        <a:solidFill>
                          <a:schemeClr val="bg1"/>
                        </a:solidFill>
                        <a:latin typeface="+mn-lt"/>
                        <a:cs typeface="Segoe UI Semilight" panose="020B0402040204020203" pitchFamily="34" charset="0"/>
                      </a:endParaRPr>
                    </a:p>
                  </a:txBody>
                  <a:tcPr marL="122784" marR="122784" marT="61392" marB="61392">
                    <a:noFill/>
                  </a:tcPr>
                </a:tc>
                <a:extLst>
                  <a:ext uri="{0D108BD9-81ED-4DB2-BD59-A6C34878D82A}">
                    <a16:rowId xmlns:a16="http://schemas.microsoft.com/office/drawing/2014/main" val="1611447696"/>
                  </a:ext>
                </a:extLst>
              </a:tr>
              <a:tr h="534334">
                <a:tc>
                  <a:txBody>
                    <a:bodyPr/>
                    <a:lstStyle/>
                    <a:p>
                      <a:r>
                        <a:rPr lang="en-US" sz="1400" b="1" spc="20" baseline="0" dirty="0">
                          <a:solidFill>
                            <a:schemeClr val="accent5"/>
                          </a:solidFill>
                          <a:latin typeface="+mn-lt"/>
                        </a:rPr>
                        <a:t>SQL IaaS/PaaS deployments managed in one location</a:t>
                      </a:r>
                      <a:endParaRPr lang="en-US" sz="1400" b="1" i="0" spc="20" baseline="0" dirty="0">
                        <a:solidFill>
                          <a:schemeClr val="accent5"/>
                        </a:solidFill>
                        <a:latin typeface="+mn-lt"/>
                        <a:cs typeface="Segoe UI Semilight" panose="020B0402040204020203" pitchFamily="34" charset="0"/>
                      </a:endParaRPr>
                    </a:p>
                  </a:txBody>
                  <a:tcPr marL="122784" marR="122784" marT="61392" marB="61392" anchor="ctr">
                    <a:noFill/>
                  </a:tcPr>
                </a:tc>
                <a:tc>
                  <a:txBody>
                    <a:bodyPr/>
                    <a:lstStyle/>
                    <a:p>
                      <a:endParaRPr lang="en-US" sz="1400" b="1" i="0" spc="20" baseline="0" dirty="0">
                        <a:solidFill>
                          <a:schemeClr val="bg1"/>
                        </a:solidFill>
                        <a:latin typeface="+mn-lt"/>
                        <a:cs typeface="Segoe UI Semilight" panose="020B0402040204020203" pitchFamily="34" charset="0"/>
                      </a:endParaRPr>
                    </a:p>
                  </a:txBody>
                  <a:tcPr marL="122784" marR="122784" marT="61392" marB="61392">
                    <a:noFill/>
                  </a:tcPr>
                </a:tc>
                <a:tc>
                  <a:txBody>
                    <a:bodyPr/>
                    <a:lstStyle/>
                    <a:p>
                      <a:endParaRPr lang="en-US" sz="1400" b="1" i="0" spc="20" baseline="0" dirty="0">
                        <a:solidFill>
                          <a:schemeClr val="bg1"/>
                        </a:solidFill>
                        <a:latin typeface="+mn-lt"/>
                        <a:cs typeface="Segoe UI Semilight" panose="020B0402040204020203" pitchFamily="34" charset="0"/>
                      </a:endParaRPr>
                    </a:p>
                  </a:txBody>
                  <a:tcPr marL="122784" marR="122784" marT="61392" marB="61392">
                    <a:noFill/>
                  </a:tcPr>
                </a:tc>
                <a:extLst>
                  <a:ext uri="{0D108BD9-81ED-4DB2-BD59-A6C34878D82A}">
                    <a16:rowId xmlns:a16="http://schemas.microsoft.com/office/drawing/2014/main" val="2458581035"/>
                  </a:ext>
                </a:extLst>
              </a:tr>
              <a:tr h="525294">
                <a:tc>
                  <a:txBody>
                    <a:bodyPr/>
                    <a:lstStyle/>
                    <a:p>
                      <a:r>
                        <a:rPr lang="en-US" sz="1400" b="1" spc="20" baseline="0" dirty="0">
                          <a:solidFill>
                            <a:schemeClr val="accent5"/>
                          </a:solidFill>
                          <a:latin typeface="+mn-lt"/>
                        </a:rPr>
                        <a:t>SQL Server integration with Azure Key Vault</a:t>
                      </a:r>
                    </a:p>
                  </a:txBody>
                  <a:tcPr marL="122784" marR="122784" marT="61392" marB="61392" anchor="ctr">
                    <a:noFill/>
                  </a:tcPr>
                </a:tc>
                <a:tc>
                  <a:txBody>
                    <a:bodyPr/>
                    <a:lstStyle/>
                    <a:p>
                      <a:endParaRPr lang="en-US" sz="1400" b="1" i="0" spc="20" baseline="0">
                        <a:solidFill>
                          <a:schemeClr val="bg1"/>
                        </a:solidFill>
                        <a:latin typeface="+mn-lt"/>
                        <a:cs typeface="Segoe UI Semilight" panose="020B0402040204020203" pitchFamily="34" charset="0"/>
                      </a:endParaRPr>
                    </a:p>
                  </a:txBody>
                  <a:tcPr marL="122784" marR="122784" marT="61392" marB="61392">
                    <a:noFill/>
                  </a:tcPr>
                </a:tc>
                <a:tc>
                  <a:txBody>
                    <a:bodyPr/>
                    <a:lstStyle/>
                    <a:p>
                      <a:endParaRPr lang="en-US" sz="1400" b="1" i="0" spc="20" baseline="0" dirty="0">
                        <a:solidFill>
                          <a:schemeClr val="bg1"/>
                        </a:solidFill>
                        <a:latin typeface="+mn-lt"/>
                        <a:cs typeface="Segoe UI Semilight" panose="020B0402040204020203" pitchFamily="34" charset="0"/>
                      </a:endParaRPr>
                    </a:p>
                  </a:txBody>
                  <a:tcPr marL="122784" marR="122784" marT="61392" marB="61392">
                    <a:noFill/>
                  </a:tcPr>
                </a:tc>
                <a:extLst>
                  <a:ext uri="{0D108BD9-81ED-4DB2-BD59-A6C34878D82A}">
                    <a16:rowId xmlns:a16="http://schemas.microsoft.com/office/drawing/2014/main" val="1984159988"/>
                  </a:ext>
                </a:extLst>
              </a:tr>
              <a:tr h="509957">
                <a:tc>
                  <a:txBody>
                    <a:bodyPr/>
                    <a:lstStyle/>
                    <a:p>
                      <a:r>
                        <a:rPr lang="en-US" sz="1400" b="1" spc="20" baseline="0" dirty="0">
                          <a:solidFill>
                            <a:schemeClr val="accent5"/>
                          </a:solidFill>
                          <a:latin typeface="+mn-lt"/>
                        </a:rPr>
                        <a:t>Automatic configuration of Always On for High Availability</a:t>
                      </a:r>
                    </a:p>
                  </a:txBody>
                  <a:tcPr marL="122784" marR="122784" marT="61392" marB="61392" anchor="ctr">
                    <a:noFill/>
                  </a:tcPr>
                </a:tc>
                <a:tc>
                  <a:txBody>
                    <a:bodyPr/>
                    <a:lstStyle/>
                    <a:p>
                      <a:endParaRPr lang="en-US" sz="1400" b="1" i="0" spc="20" baseline="0">
                        <a:solidFill>
                          <a:schemeClr val="bg1"/>
                        </a:solidFill>
                        <a:latin typeface="+mn-lt"/>
                        <a:cs typeface="Segoe UI Semilight" panose="020B0402040204020203" pitchFamily="34" charset="0"/>
                      </a:endParaRPr>
                    </a:p>
                  </a:txBody>
                  <a:tcPr marL="122784" marR="122784" marT="61392" marB="61392">
                    <a:noFill/>
                  </a:tcPr>
                </a:tc>
                <a:tc>
                  <a:txBody>
                    <a:bodyPr/>
                    <a:lstStyle/>
                    <a:p>
                      <a:endParaRPr lang="en-US" sz="1400" b="1" i="0" spc="20" baseline="0" dirty="0">
                        <a:solidFill>
                          <a:schemeClr val="bg1"/>
                        </a:solidFill>
                        <a:latin typeface="+mn-lt"/>
                        <a:cs typeface="Segoe UI Semilight" panose="020B0402040204020203" pitchFamily="34" charset="0"/>
                      </a:endParaRPr>
                    </a:p>
                  </a:txBody>
                  <a:tcPr marL="122784" marR="122784" marT="61392" marB="61392">
                    <a:noFill/>
                  </a:tcPr>
                </a:tc>
                <a:extLst>
                  <a:ext uri="{0D108BD9-81ED-4DB2-BD59-A6C34878D82A}">
                    <a16:rowId xmlns:a16="http://schemas.microsoft.com/office/drawing/2014/main" val="370559305"/>
                  </a:ext>
                </a:extLst>
              </a:tr>
              <a:tr h="534861">
                <a:tc>
                  <a:txBody>
                    <a:bodyPr/>
                    <a:lstStyle/>
                    <a:p>
                      <a:r>
                        <a:rPr lang="en-US" sz="1400" b="1" spc="20" baseline="0" dirty="0">
                          <a:solidFill>
                            <a:schemeClr val="accent5"/>
                          </a:solidFill>
                          <a:latin typeface="+mn-lt"/>
                        </a:rPr>
                        <a:t>Automated Patching (for critical updates)</a:t>
                      </a:r>
                      <a:endParaRPr lang="en-US" sz="1400" b="1" i="0" spc="20" baseline="0" dirty="0">
                        <a:solidFill>
                          <a:schemeClr val="accent5"/>
                        </a:solidFill>
                        <a:latin typeface="+mn-lt"/>
                        <a:cs typeface="Segoe UI Semilight" panose="020B0402040204020203" pitchFamily="34" charset="0"/>
                      </a:endParaRPr>
                    </a:p>
                  </a:txBody>
                  <a:tcPr marL="122784" marR="122784" marT="61392" marB="61392" anchor="ctr">
                    <a:noFill/>
                  </a:tcPr>
                </a:tc>
                <a:tc>
                  <a:txBody>
                    <a:bodyPr/>
                    <a:lstStyle/>
                    <a:p>
                      <a:pPr algn="ctr"/>
                      <a:endParaRPr lang="en-US" sz="1400" b="1" i="0" spc="20" baseline="0">
                        <a:solidFill>
                          <a:schemeClr val="bg1"/>
                        </a:solidFill>
                        <a:latin typeface="+mn-lt"/>
                        <a:cs typeface="Segoe UI Semilight" panose="020B0402040204020203" pitchFamily="34" charset="0"/>
                      </a:endParaRPr>
                    </a:p>
                  </a:txBody>
                  <a:tcPr marL="122784" marR="122784" marT="61392" marB="61392" anchor="ctr">
                    <a:noFill/>
                  </a:tcPr>
                </a:tc>
                <a:tc>
                  <a:txBody>
                    <a:bodyPr/>
                    <a:lstStyle/>
                    <a:p>
                      <a:pPr algn="ctr"/>
                      <a:endParaRPr lang="en-US" sz="1400" b="1" i="0" spc="20" baseline="0" dirty="0">
                        <a:solidFill>
                          <a:schemeClr val="bg1"/>
                        </a:solidFill>
                        <a:latin typeface="+mn-lt"/>
                        <a:cs typeface="Segoe UI Semilight" panose="020B0402040204020203" pitchFamily="34" charset="0"/>
                      </a:endParaRPr>
                    </a:p>
                  </a:txBody>
                  <a:tcPr marL="122784" marR="122784" marT="61392" marB="61392" anchor="ctr">
                    <a:noFill/>
                  </a:tcPr>
                </a:tc>
                <a:extLst>
                  <a:ext uri="{0D108BD9-81ED-4DB2-BD59-A6C34878D82A}">
                    <a16:rowId xmlns:a16="http://schemas.microsoft.com/office/drawing/2014/main" val="506432082"/>
                  </a:ext>
                </a:extLst>
              </a:tr>
              <a:tr h="546310">
                <a:tc>
                  <a:txBody>
                    <a:bodyPr/>
                    <a:lstStyle/>
                    <a:p>
                      <a:r>
                        <a:rPr lang="en-US" sz="1400" b="1" spc="20" baseline="0" dirty="0">
                          <a:solidFill>
                            <a:schemeClr val="accent5"/>
                          </a:solidFill>
                          <a:latin typeface="+mn-lt"/>
                        </a:rPr>
                        <a:t>Automated Backup (with Point-in-Time Restore) </a:t>
                      </a:r>
                      <a:endParaRPr lang="en-US" sz="1400" b="1" i="0" spc="20" baseline="0" dirty="0">
                        <a:solidFill>
                          <a:schemeClr val="accent5"/>
                        </a:solidFill>
                        <a:latin typeface="+mn-lt"/>
                        <a:cs typeface="Segoe UI Semilight" panose="020B0402040204020203" pitchFamily="34" charset="0"/>
                      </a:endParaRPr>
                    </a:p>
                  </a:txBody>
                  <a:tcPr marL="122784" marR="122784" marT="61392" marB="61392" anchor="ctr">
                    <a:noFill/>
                  </a:tcPr>
                </a:tc>
                <a:tc>
                  <a:txBody>
                    <a:bodyPr/>
                    <a:lstStyle/>
                    <a:p>
                      <a:endParaRPr lang="en-US" sz="1400" b="1" i="0" spc="20" baseline="0">
                        <a:solidFill>
                          <a:schemeClr val="bg1"/>
                        </a:solidFill>
                        <a:latin typeface="+mn-lt"/>
                        <a:cs typeface="Segoe UI Semilight" panose="020B0402040204020203" pitchFamily="34" charset="0"/>
                      </a:endParaRPr>
                    </a:p>
                  </a:txBody>
                  <a:tcPr marL="122784" marR="122784" marT="61392" marB="61392">
                    <a:noFill/>
                  </a:tcPr>
                </a:tc>
                <a:tc>
                  <a:txBody>
                    <a:bodyPr/>
                    <a:lstStyle/>
                    <a:p>
                      <a:endParaRPr lang="en-US" sz="1400" b="1" i="0" spc="20" baseline="0" dirty="0">
                        <a:solidFill>
                          <a:schemeClr val="bg1"/>
                        </a:solidFill>
                        <a:latin typeface="+mn-lt"/>
                        <a:cs typeface="Segoe UI Semilight" panose="020B0402040204020203" pitchFamily="34" charset="0"/>
                      </a:endParaRPr>
                    </a:p>
                  </a:txBody>
                  <a:tcPr marL="122784" marR="122784" marT="61392" marB="61392">
                    <a:noFill/>
                  </a:tcPr>
                </a:tc>
                <a:extLst>
                  <a:ext uri="{0D108BD9-81ED-4DB2-BD59-A6C34878D82A}">
                    <a16:rowId xmlns:a16="http://schemas.microsoft.com/office/drawing/2014/main" val="2484590813"/>
                  </a:ext>
                </a:extLst>
              </a:tr>
              <a:tr h="466927">
                <a:tc>
                  <a:txBody>
                    <a:bodyPr/>
                    <a:lstStyle/>
                    <a:p>
                      <a:r>
                        <a:rPr lang="en-US" sz="1400" b="1" spc="20" baseline="0" dirty="0">
                          <a:solidFill>
                            <a:schemeClr val="accent5"/>
                          </a:solidFill>
                          <a:latin typeface="+mn-lt"/>
                        </a:rPr>
                        <a:t>Disk Scaling and Utilization view</a:t>
                      </a:r>
                      <a:endParaRPr lang="en-US" sz="1400" b="1" i="0" spc="20" baseline="0" dirty="0">
                        <a:solidFill>
                          <a:schemeClr val="accent5"/>
                        </a:solidFill>
                        <a:latin typeface="+mn-lt"/>
                        <a:cs typeface="Segoe UI Semilight" panose="020B0402040204020203" pitchFamily="34" charset="0"/>
                      </a:endParaRPr>
                    </a:p>
                  </a:txBody>
                  <a:tcPr marL="122784" marR="122784" marT="61392" marB="61392" anchor="ctr">
                    <a:noFill/>
                  </a:tcPr>
                </a:tc>
                <a:tc>
                  <a:txBody>
                    <a:bodyPr/>
                    <a:lstStyle/>
                    <a:p>
                      <a:endParaRPr lang="en-US" sz="1400" b="1" i="0" spc="20" baseline="0" dirty="0">
                        <a:solidFill>
                          <a:schemeClr val="bg1"/>
                        </a:solidFill>
                        <a:latin typeface="+mn-lt"/>
                        <a:cs typeface="Segoe UI Semilight" panose="020B0402040204020203" pitchFamily="34" charset="0"/>
                      </a:endParaRPr>
                    </a:p>
                  </a:txBody>
                  <a:tcPr marL="122784" marR="122784" marT="61392" marB="61392">
                    <a:noFill/>
                  </a:tcPr>
                </a:tc>
                <a:tc>
                  <a:txBody>
                    <a:bodyPr/>
                    <a:lstStyle/>
                    <a:p>
                      <a:endParaRPr lang="en-US" sz="1400" b="1" i="0" spc="20" baseline="0" dirty="0">
                        <a:solidFill>
                          <a:schemeClr val="bg1"/>
                        </a:solidFill>
                        <a:latin typeface="+mn-lt"/>
                        <a:cs typeface="Segoe UI Semilight" panose="020B0402040204020203" pitchFamily="34" charset="0"/>
                      </a:endParaRPr>
                    </a:p>
                  </a:txBody>
                  <a:tcPr marL="122784" marR="122784" marT="61392" marB="61392">
                    <a:noFill/>
                  </a:tcPr>
                </a:tc>
                <a:extLst>
                  <a:ext uri="{0D108BD9-81ED-4DB2-BD59-A6C34878D82A}">
                    <a16:rowId xmlns:a16="http://schemas.microsoft.com/office/drawing/2014/main" val="2441549226"/>
                  </a:ext>
                </a:extLst>
              </a:tr>
            </a:tbl>
          </a:graphicData>
        </a:graphic>
      </p:graphicFrame>
      <p:sp>
        <p:nvSpPr>
          <p:cNvPr id="61" name="!!Freeform 1668">
            <a:extLst>
              <a:ext uri="{FF2B5EF4-FFF2-40B4-BE49-F238E27FC236}">
                <a16:creationId xmlns:a16="http://schemas.microsoft.com/office/drawing/2014/main" id="{15DC077C-FC2F-4FD7-A97E-890A544083FC}"/>
              </a:ext>
            </a:extLst>
          </p:cNvPr>
          <p:cNvSpPr>
            <a:spLocks noChangeAspect="1" noEditPoints="1"/>
          </p:cNvSpPr>
          <p:nvPr/>
        </p:nvSpPr>
        <p:spPr bwMode="auto">
          <a:xfrm>
            <a:off x="7927555" y="2068673"/>
            <a:ext cx="409049" cy="409049"/>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3" name="!!Freeform 1668">
            <a:extLst>
              <a:ext uri="{FF2B5EF4-FFF2-40B4-BE49-F238E27FC236}">
                <a16:creationId xmlns:a16="http://schemas.microsoft.com/office/drawing/2014/main" id="{1D755DA9-5779-412A-B458-F4034EF71778}"/>
              </a:ext>
            </a:extLst>
          </p:cNvPr>
          <p:cNvSpPr>
            <a:spLocks noChangeAspect="1" noEditPoints="1"/>
          </p:cNvSpPr>
          <p:nvPr/>
        </p:nvSpPr>
        <p:spPr bwMode="auto">
          <a:xfrm>
            <a:off x="10229766" y="2068673"/>
            <a:ext cx="409049" cy="409049"/>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5" name="!!Freeform 1668">
            <a:extLst>
              <a:ext uri="{FF2B5EF4-FFF2-40B4-BE49-F238E27FC236}">
                <a16:creationId xmlns:a16="http://schemas.microsoft.com/office/drawing/2014/main" id="{413CD6D5-DBE0-4420-823A-9E4345E4C0E8}"/>
              </a:ext>
            </a:extLst>
          </p:cNvPr>
          <p:cNvSpPr>
            <a:spLocks noChangeAspect="1" noEditPoints="1"/>
          </p:cNvSpPr>
          <p:nvPr/>
        </p:nvSpPr>
        <p:spPr bwMode="auto">
          <a:xfrm>
            <a:off x="7927555" y="2566318"/>
            <a:ext cx="409049" cy="409049"/>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7" name="!!Freeform 1668">
            <a:extLst>
              <a:ext uri="{FF2B5EF4-FFF2-40B4-BE49-F238E27FC236}">
                <a16:creationId xmlns:a16="http://schemas.microsoft.com/office/drawing/2014/main" id="{954BE0A0-2DEB-49B5-B4B0-8DCFFA8BC9B0}"/>
              </a:ext>
            </a:extLst>
          </p:cNvPr>
          <p:cNvSpPr>
            <a:spLocks noChangeAspect="1" noEditPoints="1"/>
          </p:cNvSpPr>
          <p:nvPr/>
        </p:nvSpPr>
        <p:spPr bwMode="auto">
          <a:xfrm>
            <a:off x="10229766" y="2566318"/>
            <a:ext cx="409049" cy="409049"/>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9" name="!!Freeform 1668">
            <a:extLst>
              <a:ext uri="{FF2B5EF4-FFF2-40B4-BE49-F238E27FC236}">
                <a16:creationId xmlns:a16="http://schemas.microsoft.com/office/drawing/2014/main" id="{4E53B0CE-983E-4C82-BEB6-759D090671F5}"/>
              </a:ext>
            </a:extLst>
          </p:cNvPr>
          <p:cNvSpPr>
            <a:spLocks noChangeAspect="1" noEditPoints="1"/>
          </p:cNvSpPr>
          <p:nvPr/>
        </p:nvSpPr>
        <p:spPr bwMode="auto">
          <a:xfrm>
            <a:off x="7927555" y="3100177"/>
            <a:ext cx="409049" cy="409049"/>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1" name="!!Freeform 1668">
            <a:extLst>
              <a:ext uri="{FF2B5EF4-FFF2-40B4-BE49-F238E27FC236}">
                <a16:creationId xmlns:a16="http://schemas.microsoft.com/office/drawing/2014/main" id="{C1FD655F-1335-4E3D-AB2E-CC39E6F5A069}"/>
              </a:ext>
            </a:extLst>
          </p:cNvPr>
          <p:cNvSpPr>
            <a:spLocks noChangeAspect="1" noEditPoints="1"/>
          </p:cNvSpPr>
          <p:nvPr/>
        </p:nvSpPr>
        <p:spPr bwMode="auto">
          <a:xfrm>
            <a:off x="10229766" y="3100177"/>
            <a:ext cx="409049" cy="409049"/>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7" name="!!Freeform 1668">
            <a:extLst>
              <a:ext uri="{FF2B5EF4-FFF2-40B4-BE49-F238E27FC236}">
                <a16:creationId xmlns:a16="http://schemas.microsoft.com/office/drawing/2014/main" id="{4942CCC5-D95B-4207-8205-F0763E85CBE5}"/>
              </a:ext>
            </a:extLst>
          </p:cNvPr>
          <p:cNvSpPr>
            <a:spLocks noChangeAspect="1" noEditPoints="1"/>
          </p:cNvSpPr>
          <p:nvPr/>
        </p:nvSpPr>
        <p:spPr bwMode="auto">
          <a:xfrm>
            <a:off x="10229766" y="3625245"/>
            <a:ext cx="409049" cy="409049"/>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9" name="!!Freeform 1668">
            <a:extLst>
              <a:ext uri="{FF2B5EF4-FFF2-40B4-BE49-F238E27FC236}">
                <a16:creationId xmlns:a16="http://schemas.microsoft.com/office/drawing/2014/main" id="{2DFCD618-C44C-4D65-8B87-94DA7BEF54AB}"/>
              </a:ext>
            </a:extLst>
          </p:cNvPr>
          <p:cNvSpPr>
            <a:spLocks noChangeAspect="1" noEditPoints="1"/>
          </p:cNvSpPr>
          <p:nvPr/>
        </p:nvSpPr>
        <p:spPr bwMode="auto">
          <a:xfrm>
            <a:off x="10229766" y="4138123"/>
            <a:ext cx="409049" cy="409049"/>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9" name="!!Freeform 1668">
            <a:extLst>
              <a:ext uri="{FF2B5EF4-FFF2-40B4-BE49-F238E27FC236}">
                <a16:creationId xmlns:a16="http://schemas.microsoft.com/office/drawing/2014/main" id="{73A6CB0F-FA20-408D-8F67-45F44C2492C3}"/>
              </a:ext>
            </a:extLst>
          </p:cNvPr>
          <p:cNvSpPr>
            <a:spLocks noChangeAspect="1" noEditPoints="1"/>
          </p:cNvSpPr>
          <p:nvPr/>
        </p:nvSpPr>
        <p:spPr bwMode="auto">
          <a:xfrm>
            <a:off x="10229766" y="4678037"/>
            <a:ext cx="409049" cy="409049"/>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1" name="!!Freeform 1668">
            <a:extLst>
              <a:ext uri="{FF2B5EF4-FFF2-40B4-BE49-F238E27FC236}">
                <a16:creationId xmlns:a16="http://schemas.microsoft.com/office/drawing/2014/main" id="{451DE768-B5AF-408D-B29E-73C2BC26C992}"/>
              </a:ext>
            </a:extLst>
          </p:cNvPr>
          <p:cNvSpPr>
            <a:spLocks noChangeAspect="1" noEditPoints="1"/>
          </p:cNvSpPr>
          <p:nvPr/>
        </p:nvSpPr>
        <p:spPr bwMode="auto">
          <a:xfrm>
            <a:off x="10229766" y="5173636"/>
            <a:ext cx="409049" cy="409049"/>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3" name="!!Freeform 1668">
            <a:extLst>
              <a:ext uri="{FF2B5EF4-FFF2-40B4-BE49-F238E27FC236}">
                <a16:creationId xmlns:a16="http://schemas.microsoft.com/office/drawing/2014/main" id="{D7A85FCF-BD0B-45BD-B229-00046DCBB91F}"/>
              </a:ext>
            </a:extLst>
          </p:cNvPr>
          <p:cNvSpPr>
            <a:spLocks noChangeAspect="1" noEditPoints="1"/>
          </p:cNvSpPr>
          <p:nvPr/>
        </p:nvSpPr>
        <p:spPr bwMode="auto">
          <a:xfrm>
            <a:off x="10229766" y="5691797"/>
            <a:ext cx="409049" cy="409049"/>
          </a:xfrm>
          <a:custGeom>
            <a:avLst/>
            <a:gdLst>
              <a:gd name="T0" fmla="*/ 288 w 718"/>
              <a:gd name="T1" fmla="*/ 477 h 719"/>
              <a:gd name="T2" fmla="*/ 276 w 718"/>
              <a:gd name="T3" fmla="*/ 475 h 719"/>
              <a:gd name="T4" fmla="*/ 196 w 718"/>
              <a:gd name="T5" fmla="*/ 391 h 719"/>
              <a:gd name="T6" fmla="*/ 204 w 718"/>
              <a:gd name="T7" fmla="*/ 380 h 719"/>
              <a:gd name="T8" fmla="*/ 217 w 718"/>
              <a:gd name="T9" fmla="*/ 382 h 719"/>
              <a:gd name="T10" fmla="*/ 506 w 718"/>
              <a:gd name="T11" fmla="*/ 243 h 719"/>
              <a:gd name="T12" fmla="*/ 519 w 718"/>
              <a:gd name="T13" fmla="*/ 247 h 719"/>
              <a:gd name="T14" fmla="*/ 521 w 718"/>
              <a:gd name="T15" fmla="*/ 260 h 719"/>
              <a:gd name="T16" fmla="*/ 341 w 718"/>
              <a:gd name="T17" fmla="*/ 2 h 719"/>
              <a:gd name="T18" fmla="*/ 287 w 718"/>
              <a:gd name="T19" fmla="*/ 8 h 719"/>
              <a:gd name="T20" fmla="*/ 236 w 718"/>
              <a:gd name="T21" fmla="*/ 22 h 719"/>
              <a:gd name="T22" fmla="*/ 188 w 718"/>
              <a:gd name="T23" fmla="*/ 45 h 719"/>
              <a:gd name="T24" fmla="*/ 144 w 718"/>
              <a:gd name="T25" fmla="*/ 72 h 719"/>
              <a:gd name="T26" fmla="*/ 106 w 718"/>
              <a:gd name="T27" fmla="*/ 106 h 719"/>
              <a:gd name="T28" fmla="*/ 71 w 718"/>
              <a:gd name="T29" fmla="*/ 145 h 719"/>
              <a:gd name="T30" fmla="*/ 44 w 718"/>
              <a:gd name="T31" fmla="*/ 189 h 719"/>
              <a:gd name="T32" fmla="*/ 22 w 718"/>
              <a:gd name="T33" fmla="*/ 237 h 719"/>
              <a:gd name="T34" fmla="*/ 7 w 718"/>
              <a:gd name="T35" fmla="*/ 289 h 719"/>
              <a:gd name="T36" fmla="*/ 1 w 718"/>
              <a:gd name="T37" fmla="*/ 342 h 719"/>
              <a:gd name="T38" fmla="*/ 2 w 718"/>
              <a:gd name="T39" fmla="*/ 397 h 719"/>
              <a:gd name="T40" fmla="*/ 12 w 718"/>
              <a:gd name="T41" fmla="*/ 450 h 719"/>
              <a:gd name="T42" fmla="*/ 28 w 718"/>
              <a:gd name="T43" fmla="*/ 501 h 719"/>
              <a:gd name="T44" fmla="*/ 51 w 718"/>
              <a:gd name="T45" fmla="*/ 547 h 719"/>
              <a:gd name="T46" fmla="*/ 82 w 718"/>
              <a:gd name="T47" fmla="*/ 589 h 719"/>
              <a:gd name="T48" fmla="*/ 118 w 718"/>
              <a:gd name="T49" fmla="*/ 627 h 719"/>
              <a:gd name="T50" fmla="*/ 159 w 718"/>
              <a:gd name="T51" fmla="*/ 659 h 719"/>
              <a:gd name="T52" fmla="*/ 204 w 718"/>
              <a:gd name="T53" fmla="*/ 684 h 719"/>
              <a:gd name="T54" fmla="*/ 252 w 718"/>
              <a:gd name="T55" fmla="*/ 704 h 719"/>
              <a:gd name="T56" fmla="*/ 304 w 718"/>
              <a:gd name="T57" fmla="*/ 716 h 719"/>
              <a:gd name="T58" fmla="*/ 360 w 718"/>
              <a:gd name="T59" fmla="*/ 719 h 719"/>
              <a:gd name="T60" fmla="*/ 414 w 718"/>
              <a:gd name="T61" fmla="*/ 716 h 719"/>
              <a:gd name="T62" fmla="*/ 466 w 718"/>
              <a:gd name="T63" fmla="*/ 704 h 719"/>
              <a:gd name="T64" fmla="*/ 515 w 718"/>
              <a:gd name="T65" fmla="*/ 684 h 719"/>
              <a:gd name="T66" fmla="*/ 561 w 718"/>
              <a:gd name="T67" fmla="*/ 659 h 719"/>
              <a:gd name="T68" fmla="*/ 600 w 718"/>
              <a:gd name="T69" fmla="*/ 627 h 719"/>
              <a:gd name="T70" fmla="*/ 637 w 718"/>
              <a:gd name="T71" fmla="*/ 589 h 719"/>
              <a:gd name="T72" fmla="*/ 667 w 718"/>
              <a:gd name="T73" fmla="*/ 547 h 719"/>
              <a:gd name="T74" fmla="*/ 691 w 718"/>
              <a:gd name="T75" fmla="*/ 501 h 719"/>
              <a:gd name="T76" fmla="*/ 707 w 718"/>
              <a:gd name="T77" fmla="*/ 450 h 719"/>
              <a:gd name="T78" fmla="*/ 716 w 718"/>
              <a:gd name="T79" fmla="*/ 397 h 719"/>
              <a:gd name="T80" fmla="*/ 718 w 718"/>
              <a:gd name="T81" fmla="*/ 342 h 719"/>
              <a:gd name="T82" fmla="*/ 712 w 718"/>
              <a:gd name="T83" fmla="*/ 289 h 719"/>
              <a:gd name="T84" fmla="*/ 696 w 718"/>
              <a:gd name="T85" fmla="*/ 237 h 719"/>
              <a:gd name="T86" fmla="*/ 675 w 718"/>
              <a:gd name="T87" fmla="*/ 189 h 719"/>
              <a:gd name="T88" fmla="*/ 647 w 718"/>
              <a:gd name="T89" fmla="*/ 145 h 719"/>
              <a:gd name="T90" fmla="*/ 614 w 718"/>
              <a:gd name="T91" fmla="*/ 106 h 719"/>
              <a:gd name="T92" fmla="*/ 574 w 718"/>
              <a:gd name="T93" fmla="*/ 72 h 719"/>
              <a:gd name="T94" fmla="*/ 531 w 718"/>
              <a:gd name="T95" fmla="*/ 45 h 719"/>
              <a:gd name="T96" fmla="*/ 483 w 718"/>
              <a:gd name="T97" fmla="*/ 22 h 719"/>
              <a:gd name="T98" fmla="*/ 431 w 718"/>
              <a:gd name="T99" fmla="*/ 8 h 719"/>
              <a:gd name="T100" fmla="*/ 377 w 718"/>
              <a:gd name="T101"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719">
                <a:moveTo>
                  <a:pt x="519" y="263"/>
                </a:moveTo>
                <a:lnTo>
                  <a:pt x="292" y="475"/>
                </a:lnTo>
                <a:lnTo>
                  <a:pt x="288" y="477"/>
                </a:lnTo>
                <a:lnTo>
                  <a:pt x="283" y="479"/>
                </a:lnTo>
                <a:lnTo>
                  <a:pt x="279" y="477"/>
                </a:lnTo>
                <a:lnTo>
                  <a:pt x="276" y="475"/>
                </a:lnTo>
                <a:lnTo>
                  <a:pt x="199" y="400"/>
                </a:lnTo>
                <a:lnTo>
                  <a:pt x="197" y="396"/>
                </a:lnTo>
                <a:lnTo>
                  <a:pt x="196" y="391"/>
                </a:lnTo>
                <a:lnTo>
                  <a:pt x="197" y="387"/>
                </a:lnTo>
                <a:lnTo>
                  <a:pt x="199" y="382"/>
                </a:lnTo>
                <a:lnTo>
                  <a:pt x="204" y="380"/>
                </a:lnTo>
                <a:lnTo>
                  <a:pt x="208" y="379"/>
                </a:lnTo>
                <a:lnTo>
                  <a:pt x="213" y="380"/>
                </a:lnTo>
                <a:lnTo>
                  <a:pt x="217" y="382"/>
                </a:lnTo>
                <a:lnTo>
                  <a:pt x="284" y="450"/>
                </a:lnTo>
                <a:lnTo>
                  <a:pt x="502" y="247"/>
                </a:lnTo>
                <a:lnTo>
                  <a:pt x="506" y="243"/>
                </a:lnTo>
                <a:lnTo>
                  <a:pt x="511" y="243"/>
                </a:lnTo>
                <a:lnTo>
                  <a:pt x="515" y="243"/>
                </a:lnTo>
                <a:lnTo>
                  <a:pt x="519" y="247"/>
                </a:lnTo>
                <a:lnTo>
                  <a:pt x="522" y="251"/>
                </a:lnTo>
                <a:lnTo>
                  <a:pt x="522" y="255"/>
                </a:lnTo>
                <a:lnTo>
                  <a:pt x="521" y="260"/>
                </a:lnTo>
                <a:lnTo>
                  <a:pt x="519" y="263"/>
                </a:lnTo>
                <a:close/>
                <a:moveTo>
                  <a:pt x="360" y="0"/>
                </a:moveTo>
                <a:lnTo>
                  <a:pt x="341" y="2"/>
                </a:lnTo>
                <a:lnTo>
                  <a:pt x="322" y="3"/>
                </a:lnTo>
                <a:lnTo>
                  <a:pt x="304" y="5"/>
                </a:lnTo>
                <a:lnTo>
                  <a:pt x="287" y="8"/>
                </a:lnTo>
                <a:lnTo>
                  <a:pt x="269" y="13"/>
                </a:lnTo>
                <a:lnTo>
                  <a:pt x="252" y="17"/>
                </a:lnTo>
                <a:lnTo>
                  <a:pt x="236" y="22"/>
                </a:lnTo>
                <a:lnTo>
                  <a:pt x="219" y="29"/>
                </a:lnTo>
                <a:lnTo>
                  <a:pt x="204" y="37"/>
                </a:lnTo>
                <a:lnTo>
                  <a:pt x="188" y="45"/>
                </a:lnTo>
                <a:lnTo>
                  <a:pt x="173" y="53"/>
                </a:lnTo>
                <a:lnTo>
                  <a:pt x="159" y="62"/>
                </a:lnTo>
                <a:lnTo>
                  <a:pt x="144" y="72"/>
                </a:lnTo>
                <a:lnTo>
                  <a:pt x="131" y="83"/>
                </a:lnTo>
                <a:lnTo>
                  <a:pt x="118" y="94"/>
                </a:lnTo>
                <a:lnTo>
                  <a:pt x="106" y="106"/>
                </a:lnTo>
                <a:lnTo>
                  <a:pt x="93" y="119"/>
                </a:lnTo>
                <a:lnTo>
                  <a:pt x="82" y="132"/>
                </a:lnTo>
                <a:lnTo>
                  <a:pt x="71" y="145"/>
                </a:lnTo>
                <a:lnTo>
                  <a:pt x="61" y="159"/>
                </a:lnTo>
                <a:lnTo>
                  <a:pt x="51" y="174"/>
                </a:lnTo>
                <a:lnTo>
                  <a:pt x="44" y="189"/>
                </a:lnTo>
                <a:lnTo>
                  <a:pt x="35" y="205"/>
                </a:lnTo>
                <a:lnTo>
                  <a:pt x="28" y="221"/>
                </a:lnTo>
                <a:lnTo>
                  <a:pt x="22" y="237"/>
                </a:lnTo>
                <a:lnTo>
                  <a:pt x="16" y="253"/>
                </a:lnTo>
                <a:lnTo>
                  <a:pt x="12" y="271"/>
                </a:lnTo>
                <a:lnTo>
                  <a:pt x="7" y="289"/>
                </a:lnTo>
                <a:lnTo>
                  <a:pt x="4" y="305"/>
                </a:lnTo>
                <a:lnTo>
                  <a:pt x="2" y="324"/>
                </a:lnTo>
                <a:lnTo>
                  <a:pt x="1" y="342"/>
                </a:lnTo>
                <a:lnTo>
                  <a:pt x="0" y="360"/>
                </a:lnTo>
                <a:lnTo>
                  <a:pt x="1" y="379"/>
                </a:lnTo>
                <a:lnTo>
                  <a:pt x="2" y="397"/>
                </a:lnTo>
                <a:lnTo>
                  <a:pt x="4" y="416"/>
                </a:lnTo>
                <a:lnTo>
                  <a:pt x="7" y="433"/>
                </a:lnTo>
                <a:lnTo>
                  <a:pt x="12" y="450"/>
                </a:lnTo>
                <a:lnTo>
                  <a:pt x="16" y="467"/>
                </a:lnTo>
                <a:lnTo>
                  <a:pt x="22" y="484"/>
                </a:lnTo>
                <a:lnTo>
                  <a:pt x="28" y="501"/>
                </a:lnTo>
                <a:lnTo>
                  <a:pt x="35" y="516"/>
                </a:lnTo>
                <a:lnTo>
                  <a:pt x="44" y="532"/>
                </a:lnTo>
                <a:lnTo>
                  <a:pt x="51" y="547"/>
                </a:lnTo>
                <a:lnTo>
                  <a:pt x="61" y="561"/>
                </a:lnTo>
                <a:lnTo>
                  <a:pt x="71" y="576"/>
                </a:lnTo>
                <a:lnTo>
                  <a:pt x="82" y="589"/>
                </a:lnTo>
                <a:lnTo>
                  <a:pt x="93" y="602"/>
                </a:lnTo>
                <a:lnTo>
                  <a:pt x="106" y="614"/>
                </a:lnTo>
                <a:lnTo>
                  <a:pt x="118" y="627"/>
                </a:lnTo>
                <a:lnTo>
                  <a:pt x="131" y="638"/>
                </a:lnTo>
                <a:lnTo>
                  <a:pt x="144" y="649"/>
                </a:lnTo>
                <a:lnTo>
                  <a:pt x="159" y="659"/>
                </a:lnTo>
                <a:lnTo>
                  <a:pt x="173" y="667"/>
                </a:lnTo>
                <a:lnTo>
                  <a:pt x="188" y="676"/>
                </a:lnTo>
                <a:lnTo>
                  <a:pt x="204" y="684"/>
                </a:lnTo>
                <a:lnTo>
                  <a:pt x="219" y="692"/>
                </a:lnTo>
                <a:lnTo>
                  <a:pt x="236" y="698"/>
                </a:lnTo>
                <a:lnTo>
                  <a:pt x="252" y="704"/>
                </a:lnTo>
                <a:lnTo>
                  <a:pt x="269" y="708"/>
                </a:lnTo>
                <a:lnTo>
                  <a:pt x="287" y="713"/>
                </a:lnTo>
                <a:lnTo>
                  <a:pt x="304" y="716"/>
                </a:lnTo>
                <a:lnTo>
                  <a:pt x="322" y="718"/>
                </a:lnTo>
                <a:lnTo>
                  <a:pt x="341" y="719"/>
                </a:lnTo>
                <a:lnTo>
                  <a:pt x="360" y="719"/>
                </a:lnTo>
                <a:lnTo>
                  <a:pt x="377" y="719"/>
                </a:lnTo>
                <a:lnTo>
                  <a:pt x="396" y="718"/>
                </a:lnTo>
                <a:lnTo>
                  <a:pt x="414" y="716"/>
                </a:lnTo>
                <a:lnTo>
                  <a:pt x="431" y="713"/>
                </a:lnTo>
                <a:lnTo>
                  <a:pt x="449" y="708"/>
                </a:lnTo>
                <a:lnTo>
                  <a:pt x="466" y="704"/>
                </a:lnTo>
                <a:lnTo>
                  <a:pt x="483" y="698"/>
                </a:lnTo>
                <a:lnTo>
                  <a:pt x="499" y="692"/>
                </a:lnTo>
                <a:lnTo>
                  <a:pt x="515" y="684"/>
                </a:lnTo>
                <a:lnTo>
                  <a:pt x="531" y="676"/>
                </a:lnTo>
                <a:lnTo>
                  <a:pt x="545" y="667"/>
                </a:lnTo>
                <a:lnTo>
                  <a:pt x="561" y="659"/>
                </a:lnTo>
                <a:lnTo>
                  <a:pt x="574" y="649"/>
                </a:lnTo>
                <a:lnTo>
                  <a:pt x="588" y="638"/>
                </a:lnTo>
                <a:lnTo>
                  <a:pt x="600" y="627"/>
                </a:lnTo>
                <a:lnTo>
                  <a:pt x="614" y="614"/>
                </a:lnTo>
                <a:lnTo>
                  <a:pt x="626" y="602"/>
                </a:lnTo>
                <a:lnTo>
                  <a:pt x="637" y="589"/>
                </a:lnTo>
                <a:lnTo>
                  <a:pt x="647" y="576"/>
                </a:lnTo>
                <a:lnTo>
                  <a:pt x="658" y="561"/>
                </a:lnTo>
                <a:lnTo>
                  <a:pt x="667" y="547"/>
                </a:lnTo>
                <a:lnTo>
                  <a:pt x="675" y="532"/>
                </a:lnTo>
                <a:lnTo>
                  <a:pt x="683" y="516"/>
                </a:lnTo>
                <a:lnTo>
                  <a:pt x="691" y="501"/>
                </a:lnTo>
                <a:lnTo>
                  <a:pt x="696" y="484"/>
                </a:lnTo>
                <a:lnTo>
                  <a:pt x="702" y="467"/>
                </a:lnTo>
                <a:lnTo>
                  <a:pt x="707" y="450"/>
                </a:lnTo>
                <a:lnTo>
                  <a:pt x="712" y="433"/>
                </a:lnTo>
                <a:lnTo>
                  <a:pt x="714" y="416"/>
                </a:lnTo>
                <a:lnTo>
                  <a:pt x="716" y="397"/>
                </a:lnTo>
                <a:lnTo>
                  <a:pt x="718" y="379"/>
                </a:lnTo>
                <a:lnTo>
                  <a:pt x="718" y="360"/>
                </a:lnTo>
                <a:lnTo>
                  <a:pt x="718" y="342"/>
                </a:lnTo>
                <a:lnTo>
                  <a:pt x="716" y="324"/>
                </a:lnTo>
                <a:lnTo>
                  <a:pt x="714" y="305"/>
                </a:lnTo>
                <a:lnTo>
                  <a:pt x="712" y="289"/>
                </a:lnTo>
                <a:lnTo>
                  <a:pt x="707" y="271"/>
                </a:lnTo>
                <a:lnTo>
                  <a:pt x="702" y="253"/>
                </a:lnTo>
                <a:lnTo>
                  <a:pt x="696" y="237"/>
                </a:lnTo>
                <a:lnTo>
                  <a:pt x="691" y="221"/>
                </a:lnTo>
                <a:lnTo>
                  <a:pt x="683" y="205"/>
                </a:lnTo>
                <a:lnTo>
                  <a:pt x="675" y="189"/>
                </a:lnTo>
                <a:lnTo>
                  <a:pt x="667" y="174"/>
                </a:lnTo>
                <a:lnTo>
                  <a:pt x="658" y="159"/>
                </a:lnTo>
                <a:lnTo>
                  <a:pt x="647" y="145"/>
                </a:lnTo>
                <a:lnTo>
                  <a:pt x="637" y="132"/>
                </a:lnTo>
                <a:lnTo>
                  <a:pt x="626" y="119"/>
                </a:lnTo>
                <a:lnTo>
                  <a:pt x="614" y="106"/>
                </a:lnTo>
                <a:lnTo>
                  <a:pt x="600" y="94"/>
                </a:lnTo>
                <a:lnTo>
                  <a:pt x="588" y="83"/>
                </a:lnTo>
                <a:lnTo>
                  <a:pt x="574" y="72"/>
                </a:lnTo>
                <a:lnTo>
                  <a:pt x="561" y="62"/>
                </a:lnTo>
                <a:lnTo>
                  <a:pt x="545" y="53"/>
                </a:lnTo>
                <a:lnTo>
                  <a:pt x="531" y="45"/>
                </a:lnTo>
                <a:lnTo>
                  <a:pt x="515" y="37"/>
                </a:lnTo>
                <a:lnTo>
                  <a:pt x="499" y="29"/>
                </a:lnTo>
                <a:lnTo>
                  <a:pt x="483" y="22"/>
                </a:lnTo>
                <a:lnTo>
                  <a:pt x="466" y="17"/>
                </a:lnTo>
                <a:lnTo>
                  <a:pt x="449" y="13"/>
                </a:lnTo>
                <a:lnTo>
                  <a:pt x="431" y="8"/>
                </a:lnTo>
                <a:lnTo>
                  <a:pt x="414" y="5"/>
                </a:lnTo>
                <a:lnTo>
                  <a:pt x="396" y="3"/>
                </a:lnTo>
                <a:lnTo>
                  <a:pt x="377" y="2"/>
                </a:lnTo>
                <a:lnTo>
                  <a:pt x="360" y="0"/>
                </a:lnTo>
                <a:close/>
              </a:path>
            </a:pathLst>
          </a:custGeom>
          <a:solidFill>
            <a:srgbClr val="70AD47"/>
          </a:solidFill>
          <a:ln>
            <a:noFill/>
          </a:ln>
        </p:spPr>
        <p:txBody>
          <a:bodyPr vert="horz" wrap="square" lIns="91440" tIns="45720" rIns="91440" bIns="45720" numCol="1" anchor="t" anchorCtr="0" compatLnSpc="1">
            <a:prstTxWarp prst="textNoShape">
              <a:avLst/>
            </a:prstTxWarp>
          </a:bodyPr>
          <a:lstStyle/>
          <a:p>
            <a:pPr marL="0" marR="0" lvl="0" indent="0" algn="l" defTabSz="9144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22365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016FFA-2EB9-3045-A290-915E8AB463B0}"/>
              </a:ext>
            </a:extLst>
          </p:cNvPr>
          <p:cNvSpPr/>
          <p:nvPr/>
        </p:nvSpPr>
        <p:spPr>
          <a:xfrm>
            <a:off x="0" y="0"/>
            <a:ext cx="12191998"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E020A647-56F4-BD47-9924-3669AC42A150}"/>
              </a:ext>
            </a:extLst>
          </p:cNvPr>
          <p:cNvSpPr txBox="1">
            <a:spLocks/>
          </p:cNvSpPr>
          <p:nvPr/>
        </p:nvSpPr>
        <p:spPr>
          <a:xfrm>
            <a:off x="297872" y="67199"/>
            <a:ext cx="11596254"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chemeClr val="accent5"/>
                </a:solidFill>
                <a:effectLst/>
                <a:uLnTx/>
                <a:uFillTx/>
                <a:latin typeface="Segoe UI Semibold" panose="020B0502040204020203" pitchFamily="34" charset="0"/>
                <a:ea typeface="+mj-ea"/>
                <a:cs typeface="Segoe UI Semibold" panose="020B0502040204020203" pitchFamily="34" charset="0"/>
              </a:rPr>
              <a:t>Automatic Azure SQL VM registration</a:t>
            </a:r>
          </a:p>
        </p:txBody>
      </p:sp>
      <p:grpSp>
        <p:nvGrpSpPr>
          <p:cNvPr id="15" name="Group 14">
            <a:extLst>
              <a:ext uri="{FF2B5EF4-FFF2-40B4-BE49-F238E27FC236}">
                <a16:creationId xmlns:a16="http://schemas.microsoft.com/office/drawing/2014/main" id="{79060723-8DB4-4DD7-A0A3-E8BD079F2579}"/>
              </a:ext>
            </a:extLst>
          </p:cNvPr>
          <p:cNvGrpSpPr/>
          <p:nvPr/>
        </p:nvGrpSpPr>
        <p:grpSpPr>
          <a:xfrm>
            <a:off x="6952844" y="2278926"/>
            <a:ext cx="5049982" cy="2483427"/>
            <a:chOff x="5964382" y="2161309"/>
            <a:chExt cx="5049982" cy="2483427"/>
          </a:xfrm>
        </p:grpSpPr>
        <p:sp>
          <p:nvSpPr>
            <p:cNvPr id="34" name="Rounded Rectangle 8">
              <a:extLst>
                <a:ext uri="{FF2B5EF4-FFF2-40B4-BE49-F238E27FC236}">
                  <a16:creationId xmlns:a16="http://schemas.microsoft.com/office/drawing/2014/main" id="{310267FC-40AB-4148-99C8-30F8F4F93DBE}"/>
                </a:ext>
              </a:extLst>
            </p:cNvPr>
            <p:cNvSpPr/>
            <p:nvPr/>
          </p:nvSpPr>
          <p:spPr bwMode="auto">
            <a:xfrm>
              <a:off x="5964382" y="2161309"/>
              <a:ext cx="5049982" cy="2483427"/>
            </a:xfrm>
            <a:prstGeom prst="roundRect">
              <a:avLst>
                <a:gd name="adj" fmla="val 4114"/>
              </a:avLst>
            </a:prstGeom>
            <a:solidFill>
              <a:schemeClr val="accent5"/>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5" name="Picture 2">
              <a:extLst>
                <a:ext uri="{FF2B5EF4-FFF2-40B4-BE49-F238E27FC236}">
                  <a16:creationId xmlns:a16="http://schemas.microsoft.com/office/drawing/2014/main" id="{9925C6AB-F50E-4273-B2B7-3AAEF87EB37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 r="20055"/>
            <a:stretch/>
          </p:blipFill>
          <p:spPr bwMode="auto">
            <a:xfrm>
              <a:off x="6095998" y="2727037"/>
              <a:ext cx="4772325" cy="1403926"/>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3AE9AF9D-788A-4A91-8145-962163CB92F3}"/>
                </a:ext>
              </a:extLst>
            </p:cNvPr>
            <p:cNvSpPr/>
            <p:nvPr/>
          </p:nvSpPr>
          <p:spPr bwMode="auto">
            <a:xfrm>
              <a:off x="6611539" y="3396837"/>
              <a:ext cx="1870622" cy="29042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aphicFrame>
        <p:nvGraphicFramePr>
          <p:cNvPr id="18" name="Diagram 17">
            <a:extLst>
              <a:ext uri="{FF2B5EF4-FFF2-40B4-BE49-F238E27FC236}">
                <a16:creationId xmlns:a16="http://schemas.microsoft.com/office/drawing/2014/main" id="{FB346774-253A-415F-B65A-E214D164EBCA}"/>
              </a:ext>
            </a:extLst>
          </p:cNvPr>
          <p:cNvGraphicFramePr/>
          <p:nvPr>
            <p:extLst>
              <p:ext uri="{D42A27DB-BD31-4B8C-83A1-F6EECF244321}">
                <p14:modId xmlns:p14="http://schemas.microsoft.com/office/powerpoint/2010/main" val="98459963"/>
              </p:ext>
            </p:extLst>
          </p:nvPr>
        </p:nvGraphicFramePr>
        <p:xfrm>
          <a:off x="529937" y="1076447"/>
          <a:ext cx="6096000" cy="50671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8970399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016FFA-2EB9-3045-A290-915E8AB463B0}"/>
              </a:ext>
            </a:extLst>
          </p:cNvPr>
          <p:cNvSpPr/>
          <p:nvPr/>
        </p:nvSpPr>
        <p:spPr>
          <a:xfrm>
            <a:off x="0" y="0"/>
            <a:ext cx="12191998"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E020A647-56F4-BD47-9924-3669AC42A150}"/>
              </a:ext>
            </a:extLst>
          </p:cNvPr>
          <p:cNvSpPr txBox="1">
            <a:spLocks/>
          </p:cNvSpPr>
          <p:nvPr/>
        </p:nvSpPr>
        <p:spPr>
          <a:xfrm>
            <a:off x="297872" y="67199"/>
            <a:ext cx="11596254"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chemeClr val="accent5"/>
                </a:solidFill>
                <a:effectLst/>
                <a:uLnTx/>
                <a:uFillTx/>
                <a:latin typeface="Segoe UI Semibold" panose="020B0502040204020203" pitchFamily="34" charset="0"/>
                <a:ea typeface="+mj-ea"/>
                <a:cs typeface="Segoe UI Semibold" panose="020B0502040204020203" pitchFamily="34" charset="0"/>
              </a:rPr>
              <a:t>SQL VM Management Experience</a:t>
            </a:r>
          </a:p>
        </p:txBody>
      </p:sp>
      <p:pic>
        <p:nvPicPr>
          <p:cNvPr id="5" name="Picture 4">
            <a:extLst>
              <a:ext uri="{FF2B5EF4-FFF2-40B4-BE49-F238E27FC236}">
                <a16:creationId xmlns:a16="http://schemas.microsoft.com/office/drawing/2014/main" id="{A49111F2-9E42-4EEE-AB6C-2404AC39CBF5}"/>
              </a:ext>
            </a:extLst>
          </p:cNvPr>
          <p:cNvPicPr>
            <a:picLocks noChangeAspect="1"/>
          </p:cNvPicPr>
          <p:nvPr/>
        </p:nvPicPr>
        <p:blipFill>
          <a:blip r:embed="rId3"/>
          <a:stretch>
            <a:fillRect/>
          </a:stretch>
        </p:blipFill>
        <p:spPr>
          <a:xfrm>
            <a:off x="415196" y="1611923"/>
            <a:ext cx="11361605" cy="3634154"/>
          </a:xfrm>
          <a:prstGeom prst="rect">
            <a:avLst/>
          </a:prstGeom>
          <a:ln>
            <a:noFill/>
          </a:ln>
          <a:effectLst>
            <a:outerShdw blurRad="190500" algn="tl" rotWithShape="0">
              <a:srgbClr val="000000">
                <a:alpha val="70000"/>
              </a:srgbClr>
            </a:outerShdw>
          </a:effectLst>
        </p:spPr>
      </p:pic>
      <p:sp>
        <p:nvSpPr>
          <p:cNvPr id="6" name="TextBox 5">
            <a:extLst>
              <a:ext uri="{FF2B5EF4-FFF2-40B4-BE49-F238E27FC236}">
                <a16:creationId xmlns:a16="http://schemas.microsoft.com/office/drawing/2014/main" id="{51E50614-C966-422E-BA3C-856D0E34C189}"/>
              </a:ext>
            </a:extLst>
          </p:cNvPr>
          <p:cNvSpPr txBox="1"/>
          <p:nvPr/>
        </p:nvSpPr>
        <p:spPr>
          <a:xfrm>
            <a:off x="297872" y="635895"/>
            <a:ext cx="11050066" cy="369332"/>
          </a:xfrm>
          <a:prstGeom prst="rect">
            <a:avLst/>
          </a:prstGeom>
          <a:noFill/>
        </p:spPr>
        <p:txBody>
          <a:bodyPr wrap="square" rtlCol="0">
            <a:spAutoFit/>
          </a:bodyPr>
          <a:lstStyle/>
          <a:p>
            <a:r>
              <a:rPr lang="en-US" dirty="0"/>
              <a:t>Manage SQL Server configuration under the Virtual Machine blade.</a:t>
            </a:r>
          </a:p>
        </p:txBody>
      </p:sp>
    </p:spTree>
    <p:extLst>
      <p:ext uri="{BB962C8B-B14F-4D97-AF65-F5344CB8AC3E}">
        <p14:creationId xmlns:p14="http://schemas.microsoft.com/office/powerpoint/2010/main" val="8768521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016FFA-2EB9-3045-A290-915E8AB463B0}"/>
              </a:ext>
            </a:extLst>
          </p:cNvPr>
          <p:cNvSpPr/>
          <p:nvPr/>
        </p:nvSpPr>
        <p:spPr>
          <a:xfrm>
            <a:off x="0" y="0"/>
            <a:ext cx="12191998"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E020A647-56F4-BD47-9924-3669AC42A150}"/>
              </a:ext>
            </a:extLst>
          </p:cNvPr>
          <p:cNvSpPr txBox="1">
            <a:spLocks/>
          </p:cNvSpPr>
          <p:nvPr/>
        </p:nvSpPr>
        <p:spPr>
          <a:xfrm>
            <a:off x="297872" y="67199"/>
            <a:ext cx="11596254"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chemeClr val="accent5"/>
                </a:solidFill>
                <a:effectLst/>
                <a:uLnTx/>
                <a:uFillTx/>
                <a:latin typeface="Segoe UI Semibold" panose="020B0502040204020203" pitchFamily="34" charset="0"/>
                <a:ea typeface="+mj-ea"/>
                <a:cs typeface="Segoe UI Semibold" panose="020B0502040204020203" pitchFamily="34" charset="0"/>
              </a:rPr>
              <a:t>SQL Assessment for SQL Server on Azure VMs</a:t>
            </a:r>
          </a:p>
        </p:txBody>
      </p:sp>
      <p:graphicFrame>
        <p:nvGraphicFramePr>
          <p:cNvPr id="4" name="Diagram 3">
            <a:extLst>
              <a:ext uri="{FF2B5EF4-FFF2-40B4-BE49-F238E27FC236}">
                <a16:creationId xmlns:a16="http://schemas.microsoft.com/office/drawing/2014/main" id="{7AB0AA2D-5548-4DAA-B91E-BAED5F099B8E}"/>
              </a:ext>
            </a:extLst>
          </p:cNvPr>
          <p:cNvGraphicFramePr/>
          <p:nvPr>
            <p:extLst>
              <p:ext uri="{D42A27DB-BD31-4B8C-83A1-F6EECF244321}">
                <p14:modId xmlns:p14="http://schemas.microsoft.com/office/powerpoint/2010/main" val="2540510573"/>
              </p:ext>
            </p:extLst>
          </p:nvPr>
        </p:nvGraphicFramePr>
        <p:xfrm>
          <a:off x="632298" y="904672"/>
          <a:ext cx="11099259" cy="5340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01642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016FFA-2EB9-3045-A290-915E8AB463B0}"/>
              </a:ext>
            </a:extLst>
          </p:cNvPr>
          <p:cNvSpPr/>
          <p:nvPr/>
        </p:nvSpPr>
        <p:spPr>
          <a:xfrm>
            <a:off x="0" y="0"/>
            <a:ext cx="12191998"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E020A647-56F4-BD47-9924-3669AC42A150}"/>
              </a:ext>
            </a:extLst>
          </p:cNvPr>
          <p:cNvSpPr txBox="1">
            <a:spLocks/>
          </p:cNvSpPr>
          <p:nvPr/>
        </p:nvSpPr>
        <p:spPr>
          <a:xfrm>
            <a:off x="297872" y="67199"/>
            <a:ext cx="11596254" cy="6861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chemeClr val="accent5"/>
                </a:solidFill>
                <a:effectLst/>
                <a:uLnTx/>
                <a:uFillTx/>
                <a:latin typeface="Segoe UI Semibold" panose="020B0502040204020203" pitchFamily="34" charset="0"/>
                <a:ea typeface="+mj-ea"/>
                <a:cs typeface="Segoe UI Semibold" panose="020B0502040204020203" pitchFamily="34" charset="0"/>
              </a:rPr>
              <a:t>Enable SQL Assessments</a:t>
            </a:r>
          </a:p>
        </p:txBody>
      </p:sp>
      <p:pic>
        <p:nvPicPr>
          <p:cNvPr id="8" name="Picture 7">
            <a:extLst>
              <a:ext uri="{FF2B5EF4-FFF2-40B4-BE49-F238E27FC236}">
                <a16:creationId xmlns:a16="http://schemas.microsoft.com/office/drawing/2014/main" id="{A6F02D6B-BA96-410E-829D-D89FFECFC630}"/>
              </a:ext>
            </a:extLst>
          </p:cNvPr>
          <p:cNvPicPr>
            <a:picLocks noChangeAspect="1"/>
          </p:cNvPicPr>
          <p:nvPr/>
        </p:nvPicPr>
        <p:blipFill>
          <a:blip r:embed="rId3"/>
          <a:stretch>
            <a:fillRect/>
          </a:stretch>
        </p:blipFill>
        <p:spPr>
          <a:xfrm>
            <a:off x="464727" y="1043354"/>
            <a:ext cx="2475806" cy="3268419"/>
          </a:xfrm>
          <a:prstGeom prst="rect">
            <a:avLst/>
          </a:prstGeom>
          <a:ln>
            <a:noFill/>
          </a:ln>
          <a:effectLst>
            <a:outerShdw blurRad="190500" algn="tl" rotWithShape="0">
              <a:srgbClr val="000000">
                <a:alpha val="70000"/>
              </a:srgbClr>
            </a:outerShdw>
          </a:effectLst>
        </p:spPr>
      </p:pic>
      <p:pic>
        <p:nvPicPr>
          <p:cNvPr id="6" name="Picture 5">
            <a:extLst>
              <a:ext uri="{FF2B5EF4-FFF2-40B4-BE49-F238E27FC236}">
                <a16:creationId xmlns:a16="http://schemas.microsoft.com/office/drawing/2014/main" id="{7873ED8B-0CD9-4B29-BBE8-DFD9DBF19F71}"/>
              </a:ext>
            </a:extLst>
          </p:cNvPr>
          <p:cNvPicPr>
            <a:picLocks noChangeAspect="1"/>
          </p:cNvPicPr>
          <p:nvPr/>
        </p:nvPicPr>
        <p:blipFill>
          <a:blip r:embed="rId4"/>
          <a:stretch>
            <a:fillRect/>
          </a:stretch>
        </p:blipFill>
        <p:spPr>
          <a:xfrm>
            <a:off x="2642661" y="3143731"/>
            <a:ext cx="9251465" cy="2336083"/>
          </a:xfrm>
          <a:prstGeom prst="rect">
            <a:avLst/>
          </a:prstGeom>
          <a:ln>
            <a:noFill/>
          </a:ln>
          <a:effectLst>
            <a:outerShdw blurRad="190500" algn="tl" rotWithShape="0">
              <a:srgbClr val="000000">
                <a:alpha val="70000"/>
              </a:srgbClr>
            </a:outerShdw>
          </a:effectLst>
        </p:spPr>
      </p:pic>
      <p:sp>
        <p:nvSpPr>
          <p:cNvPr id="9" name="Rectangle 8">
            <a:extLst>
              <a:ext uri="{FF2B5EF4-FFF2-40B4-BE49-F238E27FC236}">
                <a16:creationId xmlns:a16="http://schemas.microsoft.com/office/drawing/2014/main" id="{0E1D958B-6E81-42C6-A092-F712A24426DD}"/>
              </a:ext>
            </a:extLst>
          </p:cNvPr>
          <p:cNvSpPr/>
          <p:nvPr/>
        </p:nvSpPr>
        <p:spPr>
          <a:xfrm>
            <a:off x="550985" y="3429000"/>
            <a:ext cx="2016369" cy="439615"/>
          </a:xfrm>
          <a:prstGeom prst="rect">
            <a:avLst/>
          </a:prstGeom>
          <a:solidFill>
            <a:schemeClr val="accent4">
              <a:lumMod val="20000"/>
              <a:lumOff val="80000"/>
              <a:alpha val="2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526361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886</TotalTime>
  <Words>3666</Words>
  <Application>Microsoft Office PowerPoint</Application>
  <PresentationFormat>Widescreen</PresentationFormat>
  <Paragraphs>231</Paragraphs>
  <Slides>15</Slides>
  <Notes>11</Notes>
  <HiddenSlides>1</HiddenSlides>
  <MMClips>0</MMClips>
  <ScaleCrop>false</ScaleCrop>
  <HeadingPairs>
    <vt:vector size="6" baseType="variant">
      <vt:variant>
        <vt:lpstr>Fonts Used</vt:lpstr>
      </vt:variant>
      <vt:variant>
        <vt:i4>10</vt:i4>
      </vt:variant>
      <vt:variant>
        <vt:lpstr>Theme</vt:lpstr>
      </vt:variant>
      <vt:variant>
        <vt:i4>4</vt:i4>
      </vt:variant>
      <vt:variant>
        <vt:lpstr>Slide Titles</vt:lpstr>
      </vt:variant>
      <vt:variant>
        <vt:i4>15</vt:i4>
      </vt:variant>
    </vt:vector>
  </HeadingPairs>
  <TitlesOfParts>
    <vt:vector size="29" baseType="lpstr">
      <vt:lpstr>Arial</vt:lpstr>
      <vt:lpstr>az_ea_font</vt:lpstr>
      <vt:lpstr>Calibri</vt:lpstr>
      <vt:lpstr>Calibri Light</vt:lpstr>
      <vt:lpstr>Century Gothic</vt:lpstr>
      <vt:lpstr>Comic Sans MS</vt:lpstr>
      <vt:lpstr>Consolas</vt:lpstr>
      <vt:lpstr>Segoe UI</vt:lpstr>
      <vt:lpstr>Segoe UI Semibold</vt:lpstr>
      <vt:lpstr>Wingdings</vt:lpstr>
      <vt:lpstr>PASS 2013_SpeakerTemplate_Final</vt:lpstr>
      <vt:lpstr>Microsoft 365 PPT Template - 2018</vt:lpstr>
      <vt:lpstr>1_Dark Blue</vt:lpstr>
      <vt:lpstr>1_PASS 2013_SpeakerTemplate_Final</vt:lpstr>
      <vt:lpstr>SQL Assessment Tool with IaaS Extensions </vt:lpstr>
      <vt:lpstr>PowerPoint Presentation</vt:lpstr>
      <vt:lpstr>PowerPoint Presentation</vt:lpstr>
      <vt:lpstr>What is the SQL Server IaaS Agent Exten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Deardurff</dc:creator>
  <cp:lastModifiedBy>John Deardurff</cp:lastModifiedBy>
  <cp:revision>45</cp:revision>
  <dcterms:created xsi:type="dcterms:W3CDTF">2019-01-15T13:20:16Z</dcterms:created>
  <dcterms:modified xsi:type="dcterms:W3CDTF">2022-01-31T13:2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19-07-10T02:57:41.961287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24cdf95-a5ca-414e-8be7-78b655ddf918</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